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9"/>
  </p:notesMasterIdLst>
  <p:sldIdLst>
    <p:sldId id="587" r:id="rId6"/>
    <p:sldId id="524" r:id="rId7"/>
    <p:sldId id="589" r:id="rId8"/>
    <p:sldId id="266" r:id="rId9"/>
    <p:sldId id="529" r:id="rId10"/>
    <p:sldId id="577" r:id="rId11"/>
    <p:sldId id="575" r:id="rId12"/>
    <p:sldId id="530" r:id="rId13"/>
    <p:sldId id="582" r:id="rId14"/>
    <p:sldId id="584" r:id="rId15"/>
    <p:sldId id="585" r:id="rId16"/>
    <p:sldId id="583" r:id="rId17"/>
    <p:sldId id="586" r:id="rId18"/>
    <p:sldId id="596" r:id="rId19"/>
    <p:sldId id="578" r:id="rId20"/>
    <p:sldId id="590" r:id="rId21"/>
    <p:sldId id="597" r:id="rId22"/>
    <p:sldId id="579" r:id="rId23"/>
    <p:sldId id="591" r:id="rId24"/>
    <p:sldId id="598" r:id="rId25"/>
    <p:sldId id="600" r:id="rId26"/>
    <p:sldId id="581" r:id="rId27"/>
    <p:sldId id="601" r:id="rId28"/>
    <p:sldId id="603" r:id="rId29"/>
    <p:sldId id="624" r:id="rId30"/>
    <p:sldId id="605" r:id="rId31"/>
    <p:sldId id="608" r:id="rId32"/>
    <p:sldId id="606" r:id="rId33"/>
    <p:sldId id="607" r:id="rId34"/>
    <p:sldId id="541" r:id="rId35"/>
    <p:sldId id="552" r:id="rId36"/>
    <p:sldId id="558" r:id="rId37"/>
    <p:sldId id="553" r:id="rId38"/>
    <p:sldId id="560" r:id="rId39"/>
    <p:sldId id="556" r:id="rId40"/>
    <p:sldId id="568" r:id="rId41"/>
    <p:sldId id="570" r:id="rId42"/>
    <p:sldId id="564" r:id="rId43"/>
    <p:sldId id="571" r:id="rId44"/>
    <p:sldId id="572" r:id="rId45"/>
    <p:sldId id="573" r:id="rId46"/>
    <p:sldId id="574" r:id="rId47"/>
    <p:sldId id="604" r:id="rId48"/>
    <p:sldId id="617" r:id="rId49"/>
    <p:sldId id="616" r:id="rId50"/>
    <p:sldId id="615" r:id="rId51"/>
    <p:sldId id="614" r:id="rId52"/>
    <p:sldId id="613" r:id="rId53"/>
    <p:sldId id="611" r:id="rId54"/>
    <p:sldId id="622" r:id="rId55"/>
    <p:sldId id="618" r:id="rId56"/>
    <p:sldId id="623" r:id="rId57"/>
    <p:sldId id="625" r:id="rId58"/>
  </p:sldIdLst>
  <p:sldSz cx="9144000" cy="5143500" type="screen16x9"/>
  <p:notesSz cx="6858000" cy="9144000"/>
  <p:custDataLst>
    <p:tags r:id="rId6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587"/>
            <p14:sldId id="524"/>
            <p14:sldId id="589"/>
            <p14:sldId id="266"/>
            <p14:sldId id="529"/>
            <p14:sldId id="577"/>
            <p14:sldId id="575"/>
            <p14:sldId id="530"/>
            <p14:sldId id="582"/>
            <p14:sldId id="584"/>
            <p14:sldId id="585"/>
            <p14:sldId id="583"/>
            <p14:sldId id="586"/>
            <p14:sldId id="596"/>
            <p14:sldId id="578"/>
            <p14:sldId id="590"/>
            <p14:sldId id="597"/>
            <p14:sldId id="579"/>
            <p14:sldId id="591"/>
            <p14:sldId id="598"/>
            <p14:sldId id="600"/>
            <p14:sldId id="581"/>
            <p14:sldId id="601"/>
            <p14:sldId id="603"/>
            <p14:sldId id="624"/>
            <p14:sldId id="605"/>
            <p14:sldId id="608"/>
            <p14:sldId id="606"/>
            <p14:sldId id="607"/>
            <p14:sldId id="541"/>
            <p14:sldId id="552"/>
            <p14:sldId id="558"/>
            <p14:sldId id="553"/>
            <p14:sldId id="560"/>
            <p14:sldId id="556"/>
            <p14:sldId id="568"/>
            <p14:sldId id="570"/>
            <p14:sldId id="564"/>
            <p14:sldId id="571"/>
            <p14:sldId id="572"/>
            <p14:sldId id="573"/>
            <p14:sldId id="574"/>
            <p14:sldId id="604"/>
            <p14:sldId id="617"/>
            <p14:sldId id="616"/>
            <p14:sldId id="615"/>
            <p14:sldId id="614"/>
            <p14:sldId id="613"/>
            <p14:sldId id="611"/>
            <p14:sldId id="622"/>
            <p14:sldId id="618"/>
            <p14:sldId id="623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5DB1"/>
    <a:srgbClr val="FF8AD8"/>
    <a:srgbClr val="FF85FF"/>
    <a:srgbClr val="D883FF"/>
    <a:srgbClr val="7A81FF"/>
    <a:srgbClr val="76D6FF"/>
    <a:srgbClr val="73FDD6"/>
    <a:srgbClr val="73FB79"/>
    <a:srgbClr val="D5FC79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93" autoAdjust="0"/>
    <p:restoredTop sz="94689"/>
  </p:normalViewPr>
  <p:slideViewPr>
    <p:cSldViewPr showGuides="1">
      <p:cViewPr varScale="1">
        <p:scale>
          <a:sx n="105" d="100"/>
          <a:sy n="105" d="100"/>
        </p:scale>
        <p:origin x="192" y="1664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9/30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2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37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22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546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6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577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7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393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14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271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15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308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17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295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18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433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20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6660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F2E23-48B5-45A8-A56F-32EA473703C4}" type="slidenum">
              <a:rPr lang="nl-NL" smtClean="0">
                <a:solidFill>
                  <a:prstClr val="black"/>
                </a:solidFill>
              </a:rPr>
              <a:pPr/>
              <a:t>21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276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30/09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www.vecteezy.com/vector-art/2309733-silhouette-of-fiction-with-knight-and-dragon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www.google.com/url?sa=i&amp;url=https%3A%2F%2Fmedium.com%2F%40swain.chandan%2Fstatic-program-analysis-its-usage-and-limits-70da0cc2a48c&amp;psig=AOvVaw35_ERzdoR32yOAp-5qYpQN&amp;ust=1695796240409000&amp;source=images&amp;cd=vfe&amp;opi=89978449&amp;ved=0CBAQjRxqFwoTCNDTiLbTx4EDFQAAAAAdAAAAABBH" TargetMode="Externa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pixabay.com/en/software-testing-service-762486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7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7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423719" y="1"/>
            <a:ext cx="1368152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783"/>
            <a:r>
              <a:rPr lang="en-US" sz="800" b="1" dirty="0">
                <a:solidFill>
                  <a:srgbClr val="F3C000"/>
                </a:solidFill>
              </a:rPr>
              <a:t>TIP!</a:t>
            </a:r>
          </a:p>
          <a:p>
            <a:pPr defTabSz="685783"/>
            <a:r>
              <a:rPr lang="en-US" sz="800" b="1" dirty="0">
                <a:solidFill>
                  <a:srgbClr val="009286"/>
                </a:solidFill>
              </a:rPr>
              <a:t>Keep animation in place</a:t>
            </a:r>
            <a:br>
              <a:rPr lang="en-US" sz="800" b="1" dirty="0">
                <a:solidFill>
                  <a:srgbClr val="009286"/>
                </a:solidFill>
              </a:rPr>
            </a:br>
            <a:r>
              <a:rPr lang="en-US" sz="800" dirty="0">
                <a:solidFill>
                  <a:srgbClr val="009286"/>
                </a:solidFill>
              </a:rPr>
              <a:t>Replace Logo’s by right clicking image and choose “Change Picture…”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-1924567" y="-72635"/>
            <a:ext cx="537210" cy="593874"/>
            <a:chOff x="5713413" y="3175"/>
            <a:chExt cx="6200776" cy="6854826"/>
          </a:xfrm>
          <a:solidFill>
            <a:schemeClr val="bg1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6729413" y="1055688"/>
              <a:ext cx="4168775" cy="5802313"/>
            </a:xfrm>
            <a:custGeom>
              <a:avLst/>
              <a:gdLst>
                <a:gd name="T0" fmla="*/ 829 w 1658"/>
                <a:gd name="T1" fmla="*/ 0 h 2307"/>
                <a:gd name="T2" fmla="*/ 0 w 1658"/>
                <a:gd name="T3" fmla="*/ 802 h 2307"/>
                <a:gd name="T4" fmla="*/ 202 w 1658"/>
                <a:gd name="T5" fmla="*/ 1386 h 2307"/>
                <a:gd name="T6" fmla="*/ 285 w 1658"/>
                <a:gd name="T7" fmla="*/ 1555 h 2307"/>
                <a:gd name="T8" fmla="*/ 439 w 1658"/>
                <a:gd name="T9" fmla="*/ 1831 h 2307"/>
                <a:gd name="T10" fmla="*/ 451 w 1658"/>
                <a:gd name="T11" fmla="*/ 2043 h 2307"/>
                <a:gd name="T12" fmla="*/ 451 w 1658"/>
                <a:gd name="T13" fmla="*/ 2043 h 2307"/>
                <a:gd name="T14" fmla="*/ 622 w 1658"/>
                <a:gd name="T15" fmla="*/ 2223 h 2307"/>
                <a:gd name="T16" fmla="*/ 690 w 1658"/>
                <a:gd name="T17" fmla="*/ 2290 h 2307"/>
                <a:gd name="T18" fmla="*/ 749 w 1658"/>
                <a:gd name="T19" fmla="*/ 2307 h 2307"/>
                <a:gd name="T20" fmla="*/ 909 w 1658"/>
                <a:gd name="T21" fmla="*/ 2307 h 2307"/>
                <a:gd name="T22" fmla="*/ 968 w 1658"/>
                <a:gd name="T23" fmla="*/ 2290 h 2307"/>
                <a:gd name="T24" fmla="*/ 1036 w 1658"/>
                <a:gd name="T25" fmla="*/ 2223 h 2307"/>
                <a:gd name="T26" fmla="*/ 1207 w 1658"/>
                <a:gd name="T27" fmla="*/ 2043 h 2307"/>
                <a:gd name="T28" fmla="*/ 1219 w 1658"/>
                <a:gd name="T29" fmla="*/ 1831 h 2307"/>
                <a:gd name="T30" fmla="*/ 1373 w 1658"/>
                <a:gd name="T31" fmla="*/ 1555 h 2307"/>
                <a:gd name="T32" fmla="*/ 1457 w 1658"/>
                <a:gd name="T33" fmla="*/ 1385 h 2307"/>
                <a:gd name="T34" fmla="*/ 1658 w 1658"/>
                <a:gd name="T35" fmla="*/ 802 h 2307"/>
                <a:gd name="T36" fmla="*/ 829 w 1658"/>
                <a:gd name="T37" fmla="*/ 0 h 2307"/>
                <a:gd name="T38" fmla="*/ 1283 w 1658"/>
                <a:gd name="T39" fmla="*/ 1268 h 2307"/>
                <a:gd name="T40" fmla="*/ 1164 w 1658"/>
                <a:gd name="T41" fmla="*/ 1555 h 2307"/>
                <a:gd name="T42" fmla="*/ 1085 w 1658"/>
                <a:gd name="T43" fmla="*/ 1668 h 2307"/>
                <a:gd name="T44" fmla="*/ 573 w 1658"/>
                <a:gd name="T45" fmla="*/ 1668 h 2307"/>
                <a:gd name="T46" fmla="*/ 494 w 1658"/>
                <a:gd name="T47" fmla="*/ 1555 h 2307"/>
                <a:gd name="T48" fmla="*/ 374 w 1658"/>
                <a:gd name="T49" fmla="*/ 1266 h 2307"/>
                <a:gd name="T50" fmla="*/ 209 w 1658"/>
                <a:gd name="T51" fmla="*/ 802 h 2307"/>
                <a:gd name="T52" fmla="*/ 829 w 1658"/>
                <a:gd name="T53" fmla="*/ 210 h 2307"/>
                <a:gd name="T54" fmla="*/ 1449 w 1658"/>
                <a:gd name="T55" fmla="*/ 802 h 2307"/>
                <a:gd name="T56" fmla="*/ 1283 w 1658"/>
                <a:gd name="T57" fmla="*/ 1268 h 2307"/>
                <a:gd name="T58" fmla="*/ 1283 w 1658"/>
                <a:gd name="T59" fmla="*/ 1268 h 2307"/>
                <a:gd name="T60" fmla="*/ 1283 w 1658"/>
                <a:gd name="T61" fmla="*/ 1268 h 2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58" h="2307">
                  <a:moveTo>
                    <a:pt x="829" y="0"/>
                  </a:moveTo>
                  <a:cubicBezTo>
                    <a:pt x="372" y="0"/>
                    <a:pt x="0" y="360"/>
                    <a:pt x="0" y="802"/>
                  </a:cubicBezTo>
                  <a:cubicBezTo>
                    <a:pt x="0" y="1089"/>
                    <a:pt x="116" y="1260"/>
                    <a:pt x="202" y="1386"/>
                  </a:cubicBezTo>
                  <a:cubicBezTo>
                    <a:pt x="255" y="1463"/>
                    <a:pt x="285" y="1509"/>
                    <a:pt x="285" y="1555"/>
                  </a:cubicBezTo>
                  <a:cubicBezTo>
                    <a:pt x="285" y="1659"/>
                    <a:pt x="340" y="1757"/>
                    <a:pt x="439" y="1831"/>
                  </a:cubicBezTo>
                  <a:cubicBezTo>
                    <a:pt x="442" y="1893"/>
                    <a:pt x="451" y="2043"/>
                    <a:pt x="451" y="2043"/>
                  </a:cubicBezTo>
                  <a:cubicBezTo>
                    <a:pt x="451" y="2043"/>
                    <a:pt x="451" y="2043"/>
                    <a:pt x="451" y="2043"/>
                  </a:cubicBezTo>
                  <a:cubicBezTo>
                    <a:pt x="452" y="2086"/>
                    <a:pt x="475" y="2174"/>
                    <a:pt x="622" y="2223"/>
                  </a:cubicBezTo>
                  <a:cubicBezTo>
                    <a:pt x="640" y="2248"/>
                    <a:pt x="662" y="2271"/>
                    <a:pt x="690" y="2290"/>
                  </a:cubicBezTo>
                  <a:cubicBezTo>
                    <a:pt x="707" y="2301"/>
                    <a:pt x="728" y="2307"/>
                    <a:pt x="749" y="2307"/>
                  </a:cubicBezTo>
                  <a:cubicBezTo>
                    <a:pt x="909" y="2307"/>
                    <a:pt x="909" y="2307"/>
                    <a:pt x="909" y="2307"/>
                  </a:cubicBezTo>
                  <a:cubicBezTo>
                    <a:pt x="930" y="2307"/>
                    <a:pt x="950" y="2301"/>
                    <a:pt x="968" y="2290"/>
                  </a:cubicBezTo>
                  <a:cubicBezTo>
                    <a:pt x="995" y="2271"/>
                    <a:pt x="1018" y="2248"/>
                    <a:pt x="1036" y="2223"/>
                  </a:cubicBezTo>
                  <a:cubicBezTo>
                    <a:pt x="1184" y="2173"/>
                    <a:pt x="1206" y="2085"/>
                    <a:pt x="1207" y="2043"/>
                  </a:cubicBezTo>
                  <a:cubicBezTo>
                    <a:pt x="1207" y="2043"/>
                    <a:pt x="1216" y="1893"/>
                    <a:pt x="1219" y="1831"/>
                  </a:cubicBezTo>
                  <a:cubicBezTo>
                    <a:pt x="1318" y="1758"/>
                    <a:pt x="1373" y="1659"/>
                    <a:pt x="1373" y="1555"/>
                  </a:cubicBezTo>
                  <a:cubicBezTo>
                    <a:pt x="1373" y="1509"/>
                    <a:pt x="1403" y="1463"/>
                    <a:pt x="1457" y="1385"/>
                  </a:cubicBezTo>
                  <a:cubicBezTo>
                    <a:pt x="1542" y="1260"/>
                    <a:pt x="1658" y="1089"/>
                    <a:pt x="1658" y="802"/>
                  </a:cubicBezTo>
                  <a:cubicBezTo>
                    <a:pt x="1658" y="360"/>
                    <a:pt x="1286" y="0"/>
                    <a:pt x="829" y="0"/>
                  </a:cubicBezTo>
                  <a:close/>
                  <a:moveTo>
                    <a:pt x="1283" y="1268"/>
                  </a:moveTo>
                  <a:cubicBezTo>
                    <a:pt x="1221" y="1357"/>
                    <a:pt x="1164" y="1442"/>
                    <a:pt x="1164" y="1555"/>
                  </a:cubicBezTo>
                  <a:cubicBezTo>
                    <a:pt x="1164" y="1605"/>
                    <a:pt x="1119" y="1645"/>
                    <a:pt x="1085" y="1668"/>
                  </a:cubicBezTo>
                  <a:cubicBezTo>
                    <a:pt x="573" y="1668"/>
                    <a:pt x="573" y="1668"/>
                    <a:pt x="573" y="1668"/>
                  </a:cubicBezTo>
                  <a:cubicBezTo>
                    <a:pt x="539" y="1645"/>
                    <a:pt x="494" y="1605"/>
                    <a:pt x="494" y="1555"/>
                  </a:cubicBezTo>
                  <a:cubicBezTo>
                    <a:pt x="494" y="1442"/>
                    <a:pt x="436" y="1357"/>
                    <a:pt x="374" y="1266"/>
                  </a:cubicBezTo>
                  <a:cubicBezTo>
                    <a:pt x="297" y="1153"/>
                    <a:pt x="209" y="1024"/>
                    <a:pt x="209" y="802"/>
                  </a:cubicBezTo>
                  <a:cubicBezTo>
                    <a:pt x="209" y="476"/>
                    <a:pt x="487" y="210"/>
                    <a:pt x="829" y="210"/>
                  </a:cubicBezTo>
                  <a:cubicBezTo>
                    <a:pt x="1171" y="210"/>
                    <a:pt x="1449" y="476"/>
                    <a:pt x="1449" y="802"/>
                  </a:cubicBezTo>
                  <a:cubicBezTo>
                    <a:pt x="1449" y="1025"/>
                    <a:pt x="1361" y="1153"/>
                    <a:pt x="1283" y="1268"/>
                  </a:cubicBezTo>
                  <a:close/>
                  <a:moveTo>
                    <a:pt x="1283" y="1268"/>
                  </a:moveTo>
                  <a:cubicBezTo>
                    <a:pt x="1283" y="1268"/>
                    <a:pt x="1283" y="1268"/>
                    <a:pt x="1283" y="12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8680451" y="3175"/>
              <a:ext cx="263525" cy="658813"/>
            </a:xfrm>
            <a:custGeom>
              <a:avLst/>
              <a:gdLst>
                <a:gd name="T0" fmla="*/ 53 w 105"/>
                <a:gd name="T1" fmla="*/ 262 h 262"/>
                <a:gd name="T2" fmla="*/ 105 w 105"/>
                <a:gd name="T3" fmla="*/ 210 h 262"/>
                <a:gd name="T4" fmla="*/ 105 w 105"/>
                <a:gd name="T5" fmla="*/ 52 h 262"/>
                <a:gd name="T6" fmla="*/ 53 w 105"/>
                <a:gd name="T7" fmla="*/ 0 h 262"/>
                <a:gd name="T8" fmla="*/ 0 w 105"/>
                <a:gd name="T9" fmla="*/ 52 h 262"/>
                <a:gd name="T10" fmla="*/ 0 w 105"/>
                <a:gd name="T11" fmla="*/ 210 h 262"/>
                <a:gd name="T12" fmla="*/ 53 w 105"/>
                <a:gd name="T13" fmla="*/ 262 h 262"/>
                <a:gd name="T14" fmla="*/ 53 w 105"/>
                <a:gd name="T15" fmla="*/ 262 h 262"/>
                <a:gd name="T16" fmla="*/ 53 w 105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62">
                  <a:moveTo>
                    <a:pt x="53" y="262"/>
                  </a:moveTo>
                  <a:cubicBezTo>
                    <a:pt x="82" y="262"/>
                    <a:pt x="105" y="239"/>
                    <a:pt x="105" y="210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24"/>
                    <a:pt x="82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39"/>
                    <a:pt x="24" y="262"/>
                    <a:pt x="53" y="262"/>
                  </a:cubicBezTo>
                  <a:close/>
                  <a:moveTo>
                    <a:pt x="53" y="262"/>
                  </a:moveTo>
                  <a:cubicBezTo>
                    <a:pt x="53" y="262"/>
                    <a:pt x="53" y="262"/>
                    <a:pt x="53" y="2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7178676" y="382588"/>
              <a:ext cx="498475" cy="623888"/>
            </a:xfrm>
            <a:custGeom>
              <a:avLst/>
              <a:gdLst>
                <a:gd name="T0" fmla="*/ 93 w 198"/>
                <a:gd name="T1" fmla="*/ 222 h 248"/>
                <a:gd name="T2" fmla="*/ 138 w 198"/>
                <a:gd name="T3" fmla="*/ 248 h 248"/>
                <a:gd name="T4" fmla="*/ 164 w 198"/>
                <a:gd name="T5" fmla="*/ 241 h 248"/>
                <a:gd name="T6" fmla="*/ 184 w 198"/>
                <a:gd name="T7" fmla="*/ 170 h 248"/>
                <a:gd name="T8" fmla="*/ 105 w 198"/>
                <a:gd name="T9" fmla="*/ 33 h 248"/>
                <a:gd name="T10" fmla="*/ 33 w 198"/>
                <a:gd name="T11" fmla="*/ 14 h 248"/>
                <a:gd name="T12" fmla="*/ 14 w 198"/>
                <a:gd name="T13" fmla="*/ 86 h 248"/>
                <a:gd name="T14" fmla="*/ 93 w 198"/>
                <a:gd name="T15" fmla="*/ 222 h 248"/>
                <a:gd name="T16" fmla="*/ 93 w 198"/>
                <a:gd name="T17" fmla="*/ 222 h 248"/>
                <a:gd name="T18" fmla="*/ 93 w 198"/>
                <a:gd name="T19" fmla="*/ 2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93" y="222"/>
                  </a:moveTo>
                  <a:cubicBezTo>
                    <a:pt x="103" y="239"/>
                    <a:pt x="120" y="248"/>
                    <a:pt x="138" y="248"/>
                  </a:cubicBezTo>
                  <a:cubicBezTo>
                    <a:pt x="147" y="248"/>
                    <a:pt x="156" y="246"/>
                    <a:pt x="164" y="241"/>
                  </a:cubicBezTo>
                  <a:cubicBezTo>
                    <a:pt x="190" y="227"/>
                    <a:pt x="198" y="195"/>
                    <a:pt x="184" y="170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91" y="8"/>
                    <a:pt x="59" y="0"/>
                    <a:pt x="33" y="14"/>
                  </a:cubicBezTo>
                  <a:cubicBezTo>
                    <a:pt x="8" y="29"/>
                    <a:pt x="0" y="61"/>
                    <a:pt x="14" y="86"/>
                  </a:cubicBezTo>
                  <a:lnTo>
                    <a:pt x="93" y="222"/>
                  </a:lnTo>
                  <a:close/>
                  <a:moveTo>
                    <a:pt x="93" y="222"/>
                  </a:moveTo>
                  <a:cubicBezTo>
                    <a:pt x="93" y="222"/>
                    <a:pt x="93" y="222"/>
                    <a:pt x="93" y="2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6092826" y="1468438"/>
              <a:ext cx="644525" cy="481013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4 w 256"/>
                <a:gd name="T5" fmla="*/ 34 h 191"/>
                <a:gd name="T6" fmla="*/ 33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1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4" y="34"/>
                  </a:cubicBezTo>
                  <a:cubicBezTo>
                    <a:pt x="0" y="59"/>
                    <a:pt x="8" y="91"/>
                    <a:pt x="33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9"/>
                    <a:pt x="187" y="191"/>
                    <a:pt x="196" y="191"/>
                  </a:cubicBezTo>
                  <a:cubicBezTo>
                    <a:pt x="214" y="191"/>
                    <a:pt x="231" y="181"/>
                    <a:pt x="241" y="164"/>
                  </a:cubicBezTo>
                  <a:cubicBezTo>
                    <a:pt x="256" y="140"/>
                    <a:pt x="247" y="108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5713413" y="2970213"/>
              <a:ext cx="658813" cy="263525"/>
            </a:xfrm>
            <a:custGeom>
              <a:avLst/>
              <a:gdLst>
                <a:gd name="T0" fmla="*/ 262 w 262"/>
                <a:gd name="T1" fmla="*/ 53 h 105"/>
                <a:gd name="T2" fmla="*/ 210 w 262"/>
                <a:gd name="T3" fmla="*/ 0 h 105"/>
                <a:gd name="T4" fmla="*/ 52 w 262"/>
                <a:gd name="T5" fmla="*/ 0 h 105"/>
                <a:gd name="T6" fmla="*/ 0 w 262"/>
                <a:gd name="T7" fmla="*/ 53 h 105"/>
                <a:gd name="T8" fmla="*/ 52 w 262"/>
                <a:gd name="T9" fmla="*/ 105 h 105"/>
                <a:gd name="T10" fmla="*/ 210 w 262"/>
                <a:gd name="T11" fmla="*/ 105 h 105"/>
                <a:gd name="T12" fmla="*/ 262 w 262"/>
                <a:gd name="T13" fmla="*/ 53 h 105"/>
                <a:gd name="T14" fmla="*/ 262 w 262"/>
                <a:gd name="T15" fmla="*/ 53 h 105"/>
                <a:gd name="T16" fmla="*/ 262 w 262"/>
                <a:gd name="T1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62" y="53"/>
                  </a:moveTo>
                  <a:cubicBezTo>
                    <a:pt x="262" y="24"/>
                    <a:pt x="239" y="0"/>
                    <a:pt x="21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39" y="105"/>
                    <a:pt x="262" y="82"/>
                    <a:pt x="262" y="53"/>
                  </a:cubicBezTo>
                  <a:close/>
                  <a:moveTo>
                    <a:pt x="262" y="53"/>
                  </a:moveTo>
                  <a:cubicBezTo>
                    <a:pt x="262" y="53"/>
                    <a:pt x="262" y="53"/>
                    <a:pt x="262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6092826" y="4240213"/>
              <a:ext cx="644525" cy="479425"/>
            </a:xfrm>
            <a:custGeom>
              <a:avLst/>
              <a:gdLst>
                <a:gd name="T0" fmla="*/ 170 w 256"/>
                <a:gd name="T1" fmla="*/ 14 h 191"/>
                <a:gd name="T2" fmla="*/ 33 w 256"/>
                <a:gd name="T3" fmla="*/ 93 h 191"/>
                <a:gd name="T4" fmla="*/ 14 w 256"/>
                <a:gd name="T5" fmla="*/ 164 h 191"/>
                <a:gd name="T6" fmla="*/ 59 w 256"/>
                <a:gd name="T7" fmla="*/ 191 h 191"/>
                <a:gd name="T8" fmla="*/ 86 w 256"/>
                <a:gd name="T9" fmla="*/ 184 h 191"/>
                <a:gd name="T10" fmla="*/ 222 w 256"/>
                <a:gd name="T11" fmla="*/ 105 h 191"/>
                <a:gd name="T12" fmla="*/ 241 w 256"/>
                <a:gd name="T13" fmla="*/ 33 h 191"/>
                <a:gd name="T14" fmla="*/ 170 w 256"/>
                <a:gd name="T15" fmla="*/ 14 h 191"/>
                <a:gd name="T16" fmla="*/ 170 w 256"/>
                <a:gd name="T17" fmla="*/ 14 h 191"/>
                <a:gd name="T18" fmla="*/ 170 w 256"/>
                <a:gd name="T19" fmla="*/ 1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170" y="14"/>
                  </a:moveTo>
                  <a:cubicBezTo>
                    <a:pt x="33" y="93"/>
                    <a:pt x="33" y="93"/>
                    <a:pt x="33" y="93"/>
                  </a:cubicBezTo>
                  <a:cubicBezTo>
                    <a:pt x="8" y="107"/>
                    <a:pt x="0" y="139"/>
                    <a:pt x="14" y="164"/>
                  </a:cubicBezTo>
                  <a:cubicBezTo>
                    <a:pt x="24" y="181"/>
                    <a:pt x="42" y="191"/>
                    <a:pt x="59" y="191"/>
                  </a:cubicBezTo>
                  <a:cubicBezTo>
                    <a:pt x="68" y="191"/>
                    <a:pt x="78" y="188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7" y="90"/>
                    <a:pt x="256" y="58"/>
                    <a:pt x="241" y="33"/>
                  </a:cubicBezTo>
                  <a:cubicBezTo>
                    <a:pt x="227" y="8"/>
                    <a:pt x="195" y="0"/>
                    <a:pt x="170" y="14"/>
                  </a:cubicBezTo>
                  <a:close/>
                  <a:moveTo>
                    <a:pt x="170" y="14"/>
                  </a:moveTo>
                  <a:cubicBezTo>
                    <a:pt x="170" y="14"/>
                    <a:pt x="170" y="14"/>
                    <a:pt x="170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10890251" y="4240213"/>
              <a:ext cx="644525" cy="479425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5 w 256"/>
                <a:gd name="T5" fmla="*/ 33 h 191"/>
                <a:gd name="T6" fmla="*/ 34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2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5" y="33"/>
                  </a:cubicBezTo>
                  <a:cubicBezTo>
                    <a:pt x="0" y="58"/>
                    <a:pt x="9" y="90"/>
                    <a:pt x="34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8"/>
                    <a:pt x="187" y="191"/>
                    <a:pt x="196" y="191"/>
                  </a:cubicBezTo>
                  <a:cubicBezTo>
                    <a:pt x="214" y="191"/>
                    <a:pt x="232" y="181"/>
                    <a:pt x="242" y="164"/>
                  </a:cubicBezTo>
                  <a:cubicBezTo>
                    <a:pt x="256" y="139"/>
                    <a:pt x="248" y="107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11255376" y="2970213"/>
              <a:ext cx="658813" cy="263525"/>
            </a:xfrm>
            <a:custGeom>
              <a:avLst/>
              <a:gdLst>
                <a:gd name="T0" fmla="*/ 209 w 262"/>
                <a:gd name="T1" fmla="*/ 0 h 105"/>
                <a:gd name="T2" fmla="*/ 52 w 262"/>
                <a:gd name="T3" fmla="*/ 0 h 105"/>
                <a:gd name="T4" fmla="*/ 0 w 262"/>
                <a:gd name="T5" fmla="*/ 53 h 105"/>
                <a:gd name="T6" fmla="*/ 52 w 262"/>
                <a:gd name="T7" fmla="*/ 105 h 105"/>
                <a:gd name="T8" fmla="*/ 209 w 262"/>
                <a:gd name="T9" fmla="*/ 105 h 105"/>
                <a:gd name="T10" fmla="*/ 262 w 262"/>
                <a:gd name="T11" fmla="*/ 53 h 105"/>
                <a:gd name="T12" fmla="*/ 209 w 262"/>
                <a:gd name="T13" fmla="*/ 0 h 105"/>
                <a:gd name="T14" fmla="*/ 209 w 262"/>
                <a:gd name="T15" fmla="*/ 0 h 105"/>
                <a:gd name="T16" fmla="*/ 209 w 262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0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38" y="105"/>
                    <a:pt x="262" y="82"/>
                    <a:pt x="262" y="53"/>
                  </a:cubicBezTo>
                  <a:cubicBezTo>
                    <a:pt x="262" y="24"/>
                    <a:pt x="238" y="0"/>
                    <a:pt x="209" y="0"/>
                  </a:cubicBezTo>
                  <a:close/>
                  <a:moveTo>
                    <a:pt x="209" y="0"/>
                  </a:moveTo>
                  <a:cubicBezTo>
                    <a:pt x="209" y="0"/>
                    <a:pt x="209" y="0"/>
                    <a:pt x="20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0890251" y="1468438"/>
              <a:ext cx="644525" cy="481013"/>
            </a:xfrm>
            <a:custGeom>
              <a:avLst/>
              <a:gdLst>
                <a:gd name="T0" fmla="*/ 60 w 256"/>
                <a:gd name="T1" fmla="*/ 191 h 191"/>
                <a:gd name="T2" fmla="*/ 86 w 256"/>
                <a:gd name="T3" fmla="*/ 184 h 191"/>
                <a:gd name="T4" fmla="*/ 222 w 256"/>
                <a:gd name="T5" fmla="*/ 105 h 191"/>
                <a:gd name="T6" fmla="*/ 242 w 256"/>
                <a:gd name="T7" fmla="*/ 34 h 191"/>
                <a:gd name="T8" fmla="*/ 170 w 256"/>
                <a:gd name="T9" fmla="*/ 14 h 191"/>
                <a:gd name="T10" fmla="*/ 34 w 256"/>
                <a:gd name="T11" fmla="*/ 93 h 191"/>
                <a:gd name="T12" fmla="*/ 15 w 256"/>
                <a:gd name="T13" fmla="*/ 164 h 191"/>
                <a:gd name="T14" fmla="*/ 60 w 256"/>
                <a:gd name="T15" fmla="*/ 191 h 191"/>
                <a:gd name="T16" fmla="*/ 60 w 256"/>
                <a:gd name="T17" fmla="*/ 191 h 191"/>
                <a:gd name="T18" fmla="*/ 60 w 256"/>
                <a:gd name="T1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60" y="191"/>
                  </a:moveTo>
                  <a:cubicBezTo>
                    <a:pt x="69" y="191"/>
                    <a:pt x="78" y="189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8" y="91"/>
                    <a:pt x="256" y="59"/>
                    <a:pt x="242" y="34"/>
                  </a:cubicBezTo>
                  <a:cubicBezTo>
                    <a:pt x="227" y="8"/>
                    <a:pt x="195" y="0"/>
                    <a:pt x="170" y="1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9" y="108"/>
                    <a:pt x="0" y="140"/>
                    <a:pt x="15" y="164"/>
                  </a:cubicBezTo>
                  <a:cubicBezTo>
                    <a:pt x="24" y="181"/>
                    <a:pt x="42" y="191"/>
                    <a:pt x="60" y="191"/>
                  </a:cubicBezTo>
                  <a:close/>
                  <a:moveTo>
                    <a:pt x="60" y="191"/>
                  </a:moveTo>
                  <a:cubicBezTo>
                    <a:pt x="60" y="191"/>
                    <a:pt x="60" y="191"/>
                    <a:pt x="60" y="1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9950451" y="382588"/>
              <a:ext cx="498475" cy="623888"/>
            </a:xfrm>
            <a:custGeom>
              <a:avLst/>
              <a:gdLst>
                <a:gd name="T0" fmla="*/ 33 w 198"/>
                <a:gd name="T1" fmla="*/ 241 h 248"/>
                <a:gd name="T2" fmla="*/ 59 w 198"/>
                <a:gd name="T3" fmla="*/ 248 h 248"/>
                <a:gd name="T4" fmla="*/ 105 w 198"/>
                <a:gd name="T5" fmla="*/ 222 h 248"/>
                <a:gd name="T6" fmla="*/ 183 w 198"/>
                <a:gd name="T7" fmla="*/ 86 h 248"/>
                <a:gd name="T8" fmla="*/ 164 w 198"/>
                <a:gd name="T9" fmla="*/ 14 h 248"/>
                <a:gd name="T10" fmla="*/ 93 w 198"/>
                <a:gd name="T11" fmla="*/ 33 h 248"/>
                <a:gd name="T12" fmla="*/ 14 w 198"/>
                <a:gd name="T13" fmla="*/ 170 h 248"/>
                <a:gd name="T14" fmla="*/ 33 w 198"/>
                <a:gd name="T15" fmla="*/ 241 h 248"/>
                <a:gd name="T16" fmla="*/ 33 w 198"/>
                <a:gd name="T17" fmla="*/ 241 h 248"/>
                <a:gd name="T18" fmla="*/ 33 w 198"/>
                <a:gd name="T19" fmla="*/ 24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33" y="241"/>
                  </a:moveTo>
                  <a:cubicBezTo>
                    <a:pt x="42" y="246"/>
                    <a:pt x="51" y="248"/>
                    <a:pt x="59" y="248"/>
                  </a:cubicBezTo>
                  <a:cubicBezTo>
                    <a:pt x="78" y="248"/>
                    <a:pt x="95" y="239"/>
                    <a:pt x="105" y="222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98" y="61"/>
                    <a:pt x="189" y="29"/>
                    <a:pt x="164" y="14"/>
                  </a:cubicBezTo>
                  <a:cubicBezTo>
                    <a:pt x="139" y="0"/>
                    <a:pt x="107" y="8"/>
                    <a:pt x="93" y="33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0" y="195"/>
                    <a:pt x="8" y="227"/>
                    <a:pt x="33" y="241"/>
                  </a:cubicBezTo>
                  <a:close/>
                  <a:moveTo>
                    <a:pt x="33" y="241"/>
                  </a:moveTo>
                  <a:cubicBezTo>
                    <a:pt x="33" y="241"/>
                    <a:pt x="33" y="241"/>
                    <a:pt x="33" y="2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8496301" y="1993900"/>
              <a:ext cx="635000" cy="2054225"/>
            </a:xfrm>
            <a:custGeom>
              <a:avLst/>
              <a:gdLst>
                <a:gd name="T0" fmla="*/ 56 w 252"/>
                <a:gd name="T1" fmla="*/ 758 h 817"/>
                <a:gd name="T2" fmla="*/ 126 w 252"/>
                <a:gd name="T3" fmla="*/ 817 h 817"/>
                <a:gd name="T4" fmla="*/ 196 w 252"/>
                <a:gd name="T5" fmla="*/ 758 h 817"/>
                <a:gd name="T6" fmla="*/ 246 w 252"/>
                <a:gd name="T7" fmla="*/ 384 h 817"/>
                <a:gd name="T8" fmla="*/ 252 w 252"/>
                <a:gd name="T9" fmla="*/ 309 h 817"/>
                <a:gd name="T10" fmla="*/ 252 w 252"/>
                <a:gd name="T11" fmla="*/ 123 h 817"/>
                <a:gd name="T12" fmla="*/ 126 w 252"/>
                <a:gd name="T13" fmla="*/ 0 h 817"/>
                <a:gd name="T14" fmla="*/ 0 w 252"/>
                <a:gd name="T15" fmla="*/ 123 h 817"/>
                <a:gd name="T16" fmla="*/ 0 w 252"/>
                <a:gd name="T17" fmla="*/ 309 h 817"/>
                <a:gd name="T18" fmla="*/ 6 w 252"/>
                <a:gd name="T19" fmla="*/ 384 h 817"/>
                <a:gd name="T20" fmla="*/ 56 w 252"/>
                <a:gd name="T21" fmla="*/ 758 h 817"/>
                <a:gd name="T22" fmla="*/ 56 w 252"/>
                <a:gd name="T23" fmla="*/ 758 h 817"/>
                <a:gd name="T24" fmla="*/ 56 w 252"/>
                <a:gd name="T25" fmla="*/ 75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817">
                  <a:moveTo>
                    <a:pt x="56" y="758"/>
                  </a:moveTo>
                  <a:cubicBezTo>
                    <a:pt x="62" y="804"/>
                    <a:pt x="84" y="817"/>
                    <a:pt x="126" y="817"/>
                  </a:cubicBezTo>
                  <a:cubicBezTo>
                    <a:pt x="167" y="817"/>
                    <a:pt x="190" y="804"/>
                    <a:pt x="196" y="758"/>
                  </a:cubicBezTo>
                  <a:cubicBezTo>
                    <a:pt x="246" y="384"/>
                    <a:pt x="246" y="384"/>
                    <a:pt x="246" y="384"/>
                  </a:cubicBezTo>
                  <a:cubicBezTo>
                    <a:pt x="249" y="358"/>
                    <a:pt x="252" y="332"/>
                    <a:pt x="252" y="309"/>
                  </a:cubicBezTo>
                  <a:cubicBezTo>
                    <a:pt x="252" y="123"/>
                    <a:pt x="252" y="123"/>
                    <a:pt x="252" y="123"/>
                  </a:cubicBezTo>
                  <a:cubicBezTo>
                    <a:pt x="252" y="42"/>
                    <a:pt x="206" y="0"/>
                    <a:pt x="126" y="0"/>
                  </a:cubicBezTo>
                  <a:cubicBezTo>
                    <a:pt x="46" y="0"/>
                    <a:pt x="0" y="42"/>
                    <a:pt x="0" y="123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32"/>
                    <a:pt x="3" y="358"/>
                    <a:pt x="6" y="384"/>
                  </a:cubicBezTo>
                  <a:lnTo>
                    <a:pt x="56" y="758"/>
                  </a:lnTo>
                  <a:close/>
                  <a:moveTo>
                    <a:pt x="56" y="758"/>
                  </a:moveTo>
                  <a:cubicBezTo>
                    <a:pt x="56" y="758"/>
                    <a:pt x="56" y="758"/>
                    <a:pt x="56" y="7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8485188" y="4310063"/>
              <a:ext cx="657225" cy="658813"/>
            </a:xfrm>
            <a:custGeom>
              <a:avLst/>
              <a:gdLst>
                <a:gd name="T0" fmla="*/ 131 w 262"/>
                <a:gd name="T1" fmla="*/ 0 h 262"/>
                <a:gd name="T2" fmla="*/ 0 w 262"/>
                <a:gd name="T3" fmla="*/ 131 h 262"/>
                <a:gd name="T4" fmla="*/ 131 w 262"/>
                <a:gd name="T5" fmla="*/ 262 h 262"/>
                <a:gd name="T6" fmla="*/ 262 w 262"/>
                <a:gd name="T7" fmla="*/ 131 h 262"/>
                <a:gd name="T8" fmla="*/ 131 w 262"/>
                <a:gd name="T9" fmla="*/ 0 h 262"/>
                <a:gd name="T10" fmla="*/ 131 w 262"/>
                <a:gd name="T11" fmla="*/ 0 h 262"/>
                <a:gd name="T12" fmla="*/ 131 w 262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262">
                  <a:moveTo>
                    <a:pt x="131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2"/>
                    <a:pt x="59" y="262"/>
                    <a:pt x="131" y="262"/>
                  </a:cubicBezTo>
                  <a:cubicBezTo>
                    <a:pt x="203" y="262"/>
                    <a:pt x="262" y="202"/>
                    <a:pt x="262" y="131"/>
                  </a:cubicBezTo>
                  <a:cubicBezTo>
                    <a:pt x="262" y="59"/>
                    <a:pt x="203" y="0"/>
                    <a:pt x="131" y="0"/>
                  </a:cubicBezTo>
                  <a:close/>
                  <a:moveTo>
                    <a:pt x="131" y="0"/>
                  </a:move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28F005B5-32DE-DB16-FDD6-8D63BC20A305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420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0696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06367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958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9347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13600"/>
            <a:ext cx="4572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107504" y="131040"/>
            <a:ext cx="2123728" cy="483518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23488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13600"/>
            <a:ext cx="4572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1582"/>
            <a:ext cx="9144000" cy="1719219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383722591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13600"/>
            <a:ext cx="4572000" cy="1717649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644008" y="71127"/>
            <a:ext cx="2433560" cy="483518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06630"/>
            <a:ext cx="4572000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0229"/>
            <a:ext cx="9144000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3292969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786330"/>
              </p:ext>
            </p:extLst>
          </p:nvPr>
        </p:nvGraphicFramePr>
        <p:xfrm>
          <a:off x="348860" y="915566"/>
          <a:ext cx="8440338" cy="3960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863100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624910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716644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1587612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2000" b="1" dirty="0">
                          <a:solidFill>
                            <a:schemeClr val="bg2"/>
                          </a:solidFill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1656184">
                <a:tc>
                  <a:txBody>
                    <a:bodyPr/>
                    <a:lstStyle/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2000" b="1" dirty="0">
                          <a:solidFill>
                            <a:srgbClr val="C00000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4537689"/>
                  </a:ext>
                </a:extLst>
              </a:tr>
            </a:tbl>
          </a:graphicData>
        </a:graphic>
      </p:graphicFrame>
      <p:pic>
        <p:nvPicPr>
          <p:cNvPr id="5" name="Picture 4" descr="Worn mallet on concrete">
            <a:extLst>
              <a:ext uri="{FF2B5EF4-FFF2-40B4-BE49-F238E27FC236}">
                <a16:creationId xmlns:a16="http://schemas.microsoft.com/office/drawing/2014/main" id="{E47A9995-2974-084B-DC43-641B3145B0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39999" y="1779536"/>
            <a:ext cx="864097" cy="1296395"/>
          </a:xfrm>
          <a:prstGeom prst="rect">
            <a:avLst/>
          </a:prstGeom>
        </p:spPr>
      </p:pic>
      <p:pic>
        <p:nvPicPr>
          <p:cNvPr id="6146" name="Picture 2" descr="The Broken Things I Kept… | Life, the Obstacle Course">
            <a:extLst>
              <a:ext uri="{FF2B5EF4-FFF2-40B4-BE49-F238E27FC236}">
                <a16:creationId xmlns:a16="http://schemas.microsoft.com/office/drawing/2014/main" id="{0BC466FF-E2B9-8867-8263-8BBFA00AF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813185"/>
            <a:ext cx="1847005" cy="122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Yellow Ceramic Cup Stock Photo - Download Image Now - Coffee Cup, Mug,  Yellow - iStock">
            <a:extLst>
              <a:ext uri="{FF2B5EF4-FFF2-40B4-BE49-F238E27FC236}">
                <a16:creationId xmlns:a16="http://schemas.microsoft.com/office/drawing/2014/main" id="{AA69EFD8-441E-EABD-F176-1A4991C84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855" y="1976434"/>
            <a:ext cx="1296395" cy="883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s ionizing radiation always harmful? | Science Questions with Surprising  Answers">
            <a:extLst>
              <a:ext uri="{FF2B5EF4-FFF2-40B4-BE49-F238E27FC236}">
                <a16:creationId xmlns:a16="http://schemas.microsoft.com/office/drawing/2014/main" id="{E065E95D-9F50-879D-E18C-3A84C51180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98" y="3633774"/>
            <a:ext cx="864098" cy="864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ow to Draw a Human - Easy Drawing Art">
            <a:extLst>
              <a:ext uri="{FF2B5EF4-FFF2-40B4-BE49-F238E27FC236}">
                <a16:creationId xmlns:a16="http://schemas.microsoft.com/office/drawing/2014/main" id="{80D06BA9-A1C2-25FD-A3C0-3AE53D555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7675" y="3407321"/>
            <a:ext cx="1296394" cy="1296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The Hulk from Marvel Cinematic Universe | CharacTour">
            <a:extLst>
              <a:ext uri="{FF2B5EF4-FFF2-40B4-BE49-F238E27FC236}">
                <a16:creationId xmlns:a16="http://schemas.microsoft.com/office/drawing/2014/main" id="{06BABF48-6509-C6AF-F026-EEF40AF0BE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8" t="-1773" r="10644" b="1773"/>
          <a:stretch/>
        </p:blipFill>
        <p:spPr bwMode="auto">
          <a:xfrm>
            <a:off x="4809405" y="3446065"/>
            <a:ext cx="1797568" cy="122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lus 7">
            <a:extLst>
              <a:ext uri="{FF2B5EF4-FFF2-40B4-BE49-F238E27FC236}">
                <a16:creationId xmlns:a16="http://schemas.microsoft.com/office/drawing/2014/main" id="{1853F839-9720-F293-FCE8-DEB16B40BBC5}"/>
              </a:ext>
            </a:extLst>
          </p:cNvPr>
          <p:cNvSpPr/>
          <p:nvPr/>
        </p:nvSpPr>
        <p:spPr>
          <a:xfrm>
            <a:off x="2153619" y="2175705"/>
            <a:ext cx="504056" cy="504056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Plus 8">
            <a:extLst>
              <a:ext uri="{FF2B5EF4-FFF2-40B4-BE49-F238E27FC236}">
                <a16:creationId xmlns:a16="http://schemas.microsoft.com/office/drawing/2014/main" id="{D7ABD9CF-7FF6-5BBA-176E-30B112578092}"/>
              </a:ext>
            </a:extLst>
          </p:cNvPr>
          <p:cNvSpPr/>
          <p:nvPr/>
        </p:nvSpPr>
        <p:spPr>
          <a:xfrm>
            <a:off x="2153619" y="3808586"/>
            <a:ext cx="504056" cy="504056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8215230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13600"/>
            <a:ext cx="4572000" cy="1717649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644008" y="71127"/>
            <a:ext cx="2433560" cy="483518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06630"/>
            <a:ext cx="4572000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0229"/>
            <a:ext cx="9144000" cy="172057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3239937741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07978"/>
            <a:ext cx="4572000" cy="17280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122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107504" y="1792404"/>
            <a:ext cx="2915816" cy="498110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7200"/>
            <a:ext cx="9144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345568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059582"/>
            <a:ext cx="5385668" cy="357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94708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Tijdelijke aanduiding voor afbeelding 23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/>
        </p:blipFill>
        <p:spPr>
          <a:xfrm>
            <a:off x="-16185" y="-22511"/>
            <a:ext cx="9180000" cy="5247372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C1D0AFE-AFF0-090B-F4BD-59977FEFCCF9}"/>
              </a:ext>
            </a:extLst>
          </p:cNvPr>
          <p:cNvSpPr/>
          <p:nvPr/>
        </p:nvSpPr>
        <p:spPr>
          <a:xfrm>
            <a:off x="-1" y="-22512"/>
            <a:ext cx="9163815" cy="5247371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339502"/>
            <a:ext cx="5158962" cy="775562"/>
          </a:xfrm>
        </p:spPr>
        <p:txBody>
          <a:bodyPr/>
          <a:lstStyle/>
          <a:p>
            <a:r>
              <a:rPr lang="en-US" sz="6000" dirty="0"/>
              <a:t>Story time</a:t>
            </a:r>
          </a:p>
        </p:txBody>
      </p:sp>
    </p:spTree>
    <p:extLst>
      <p:ext uri="{BB962C8B-B14F-4D97-AF65-F5344CB8AC3E}">
        <p14:creationId xmlns:p14="http://schemas.microsoft.com/office/powerpoint/2010/main" val="32701171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07978"/>
            <a:ext cx="4572000" cy="17280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122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107504" y="1792404"/>
            <a:ext cx="2915816" cy="498110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7200"/>
            <a:ext cx="9144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2075399106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122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2000" y="0"/>
            <a:ext cx="4586712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07980"/>
            <a:ext cx="4572000" cy="17640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644008" y="1779662"/>
            <a:ext cx="2232248" cy="498110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7200"/>
            <a:ext cx="9144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20841746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57287" y="1707980"/>
            <a:ext cx="4586713" cy="171922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122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07980"/>
            <a:ext cx="4572000" cy="171922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107504" y="3507854"/>
            <a:ext cx="3096344" cy="599039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2260732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9306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ample tim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40F43B-428C-1511-9505-4C6EF9F08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946" y="699542"/>
            <a:ext cx="5966163" cy="436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80670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ipeline and static tests</a:t>
            </a:r>
          </a:p>
        </p:txBody>
      </p:sp>
      <p:sp>
        <p:nvSpPr>
          <p:cNvPr id="5" name="Plus 4">
            <a:extLst>
              <a:ext uri="{FF2B5EF4-FFF2-40B4-BE49-F238E27FC236}">
                <a16:creationId xmlns:a16="http://schemas.microsoft.com/office/drawing/2014/main" id="{AD02C4DB-E4D9-51EC-FA3B-3DB2268E4CA4}"/>
              </a:ext>
            </a:extLst>
          </p:cNvPr>
          <p:cNvSpPr/>
          <p:nvPr/>
        </p:nvSpPr>
        <p:spPr>
          <a:xfrm>
            <a:off x="4283968" y="222656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20482" name="Picture 2" descr="Static Program Analysis: Its Usage And Limits | by Siddharth Swain | Medium">
            <a:hlinkClick r:id="rId2"/>
            <a:extLst>
              <a:ext uri="{FF2B5EF4-FFF2-40B4-BE49-F238E27FC236}">
                <a16:creationId xmlns:a16="http://schemas.microsoft.com/office/drawing/2014/main" id="{E4A19AE4-7277-80F9-841D-C5FED0DB0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885573"/>
            <a:ext cx="2967177" cy="1978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2410EB-DCB9-0D03-2776-58C34B619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709" y="1491630"/>
            <a:ext cx="2954374" cy="2732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38290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Catalog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59136"/>
              </p:ext>
            </p:extLst>
          </p:nvPr>
        </p:nvGraphicFramePr>
        <p:xfrm>
          <a:off x="348860" y="915567"/>
          <a:ext cx="8440338" cy="270306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catalo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oesn’t have any product in the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shows no produ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adds several products to the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counter and 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adds products on price higher than 1000Eu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der cart applies 10% discou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ckend responds with err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odal is shown with correct mes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Product car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66950"/>
              </p:ext>
            </p:extLst>
          </p:nvPr>
        </p:nvGraphicFramePr>
        <p:xfrm>
          <a:off x="348860" y="915567"/>
          <a:ext cx="8440338" cy="403244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user’s cart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roduct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3433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s cart’s total price is higher than 1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discount is applied to total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increases amount of product items in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ecreases amount of product items in c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rice is upd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 total price is higher/lower than 1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discount is enabled/disabl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461810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refreshes p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t changes are persi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87410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ckend responds with err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odal with correct mess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450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519992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Checkou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319532"/>
              </p:ext>
            </p:extLst>
          </p:nvPr>
        </p:nvGraphicFramePr>
        <p:xfrm>
          <a:off x="348860" y="915567"/>
          <a:ext cx="8440338" cy="230215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checkou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out form is display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doesn’t fill anything in checkout and submits the fo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idation messages are displayed. Form is not submitt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fills everything correct and receives error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 messages are display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fills everything correctly and receives success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7419984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 (Payment)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688260"/>
              </p:ext>
            </p:extLst>
          </p:nvPr>
        </p:nvGraphicFramePr>
        <p:xfrm>
          <a:off x="348860" y="915567"/>
          <a:ext cx="8440338" cy="317433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487430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payments p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ct price and product details are display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548365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doesn’t have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error is shown, payment is not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tries again after failed attempt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. Success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has enough mone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 is successful. Success page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L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C4C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lang="en-NL" sz="16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67173"/>
                  </a:ext>
                </a:extLst>
              </a:tr>
              <a:tr h="44312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pays and he receives unexpected error response from the back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error is shown, payment is not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4618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265152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3E23EDE-FA03-BA84-F93E-9E0AFF3E0F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sp>
        <p:nvSpPr>
          <p:cNvPr id="21" name="Tijdelijke aanduiding voor tekst 7">
            <a:extLst>
              <a:ext uri="{FF2B5EF4-FFF2-40B4-BE49-F238E27FC236}">
                <a16:creationId xmlns:a16="http://schemas.microsoft.com/office/drawing/2014/main" id="{312F7865-5745-2DF3-5891-7D76A2610C69}"/>
              </a:ext>
            </a:extLst>
          </p:cNvPr>
          <p:cNvSpPr txBox="1">
            <a:spLocks/>
          </p:cNvSpPr>
          <p:nvPr/>
        </p:nvSpPr>
        <p:spPr>
          <a:xfrm>
            <a:off x="4932040" y="2080766"/>
            <a:ext cx="2808312" cy="144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None/>
              <a:tabLst>
                <a:tab pos="272648" algn="l"/>
              </a:tabLst>
              <a:defRPr lang="nl-NL" sz="12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/>
              <a:t>IT Engineer at ABN AMRO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3A48E22-8B8A-6067-6E58-24685CD9E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040" y="2440806"/>
            <a:ext cx="635000" cy="635000"/>
          </a:xfrm>
          <a:prstGeom prst="rect">
            <a:avLst/>
          </a:prstGeom>
        </p:spPr>
      </p:pic>
      <p:sp>
        <p:nvSpPr>
          <p:cNvPr id="23" name="Tijdelijke aanduiding voor tekst 7">
            <a:extLst>
              <a:ext uri="{FF2B5EF4-FFF2-40B4-BE49-F238E27FC236}">
                <a16:creationId xmlns:a16="http://schemas.microsoft.com/office/drawing/2014/main" id="{4F29A224-132C-343B-A857-7FA9FD1BD6DA}"/>
              </a:ext>
            </a:extLst>
          </p:cNvPr>
          <p:cNvSpPr txBox="1">
            <a:spLocks/>
          </p:cNvSpPr>
          <p:nvPr/>
        </p:nvSpPr>
        <p:spPr>
          <a:xfrm>
            <a:off x="5660091" y="2631744"/>
            <a:ext cx="2412480" cy="253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None/>
              <a:tabLst>
                <a:tab pos="272648" algn="l"/>
              </a:tabLst>
              <a:defRPr lang="nl-NL" sz="12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1961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67944" indent="-30598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+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48925" indent="-289315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Courier New" panose="02070309020205020404" pitchFamily="49" charset="0"/>
              <a:buChar char="o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1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None/>
              <a:defRPr sz="900" i="0" u="none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solidFill>
                  <a:srgbClr val="CC0066"/>
                </a:solidFill>
              </a:rPr>
              <a:t>Working on iDeal 2.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BBEE08E-A22E-983C-207F-D307CE46F8F8}"/>
              </a:ext>
            </a:extLst>
          </p:cNvPr>
          <p:cNvSpPr txBox="1"/>
          <p:nvPr/>
        </p:nvSpPr>
        <p:spPr>
          <a:xfrm>
            <a:off x="4860032" y="1576710"/>
            <a:ext cx="16001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400" b="1" dirty="0">
                <a:solidFill>
                  <a:schemeClr val="bg2"/>
                </a:solidFill>
              </a:rPr>
              <a:t>Illia Lebid</a:t>
            </a:r>
          </a:p>
        </p:txBody>
      </p:sp>
    </p:spTree>
    <p:extLst>
      <p:ext uri="{BB962C8B-B14F-4D97-AF65-F5344CB8AC3E}">
        <p14:creationId xmlns:p14="http://schemas.microsoft.com/office/powerpoint/2010/main" val="734767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000">
        <p:split orient="vert"/>
      </p:transition>
    </mc:Choice>
    <mc:Fallback>
      <p:transition spd="slow">
        <p:split orient="vert"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 dirty="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2450103" y="1996734"/>
            <a:ext cx="4223146" cy="238975"/>
          </a:xfrm>
        </p:spPr>
        <p:txBody>
          <a:bodyPr/>
          <a:lstStyle/>
          <a:p>
            <a:r>
              <a:rPr lang="en-US" dirty="0"/>
              <a:t>Full proof testing</a:t>
            </a:r>
          </a:p>
        </p:txBody>
      </p:sp>
      <p:sp>
        <p:nvSpPr>
          <p:cNvPr id="15" name="Tijdelijke aanduiding voor tekst 14"/>
          <p:cNvSpPr>
            <a:spLocks noGrp="1"/>
          </p:cNvSpPr>
          <p:nvPr>
            <p:ph type="body" sz="quarter" idx="19"/>
          </p:nvPr>
        </p:nvSpPr>
        <p:spPr>
          <a:xfrm>
            <a:off x="2450103" y="2320168"/>
            <a:ext cx="4223146" cy="238975"/>
          </a:xfrm>
        </p:spPr>
        <p:txBody>
          <a:bodyPr/>
          <a:lstStyle/>
          <a:p>
            <a:r>
              <a:rPr lang="en-US" dirty="0"/>
              <a:t>A guide to stable application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4140474" y="1754841"/>
            <a:ext cx="842400" cy="1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20"/>
          </p:nvPr>
        </p:nvSpPr>
        <p:spPr>
          <a:xfrm>
            <a:off x="4140474" y="2729753"/>
            <a:ext cx="842400" cy="135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Tijdelijke aanduiding voor afbeelding 7"/>
          <p:cNvPicPr>
            <a:picLocks noGrp="1" noChangeAspect="1"/>
          </p:cNvPicPr>
          <p:nvPr>
            <p:ph type="pic" sz="quarter" idx="2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797" y="699542"/>
            <a:ext cx="1712411" cy="434713"/>
          </a:xfrm>
        </p:spPr>
      </p:pic>
      <p:sp>
        <p:nvSpPr>
          <p:cNvPr id="2" name="TextBox 1"/>
          <p:cNvSpPr txBox="1"/>
          <p:nvPr/>
        </p:nvSpPr>
        <p:spPr>
          <a:xfrm>
            <a:off x="-1423719" y="1"/>
            <a:ext cx="1368152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783"/>
            <a:r>
              <a:rPr lang="en-US" sz="800" b="1" dirty="0">
                <a:solidFill>
                  <a:srgbClr val="F3C000"/>
                </a:solidFill>
              </a:rPr>
              <a:t>TIP!</a:t>
            </a:r>
          </a:p>
          <a:p>
            <a:pPr defTabSz="685783"/>
            <a:r>
              <a:rPr lang="en-US" sz="800" b="1" dirty="0">
                <a:solidFill>
                  <a:srgbClr val="009286"/>
                </a:solidFill>
              </a:rPr>
              <a:t>Keep animation in place</a:t>
            </a:r>
            <a:br>
              <a:rPr lang="en-US" sz="800" b="1" dirty="0">
                <a:solidFill>
                  <a:srgbClr val="009286"/>
                </a:solidFill>
              </a:rPr>
            </a:br>
            <a:r>
              <a:rPr lang="en-US" sz="800" dirty="0">
                <a:solidFill>
                  <a:srgbClr val="009286"/>
                </a:solidFill>
              </a:rPr>
              <a:t>Replace Logo’s by right clicking image and choose “Change Picture…”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-1924567" y="-72635"/>
            <a:ext cx="537210" cy="593874"/>
            <a:chOff x="5713413" y="3175"/>
            <a:chExt cx="6200776" cy="6854826"/>
          </a:xfrm>
          <a:solidFill>
            <a:schemeClr val="bg1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6729413" y="1055688"/>
              <a:ext cx="4168775" cy="5802313"/>
            </a:xfrm>
            <a:custGeom>
              <a:avLst/>
              <a:gdLst>
                <a:gd name="T0" fmla="*/ 829 w 1658"/>
                <a:gd name="T1" fmla="*/ 0 h 2307"/>
                <a:gd name="T2" fmla="*/ 0 w 1658"/>
                <a:gd name="T3" fmla="*/ 802 h 2307"/>
                <a:gd name="T4" fmla="*/ 202 w 1658"/>
                <a:gd name="T5" fmla="*/ 1386 h 2307"/>
                <a:gd name="T6" fmla="*/ 285 w 1658"/>
                <a:gd name="T7" fmla="*/ 1555 h 2307"/>
                <a:gd name="T8" fmla="*/ 439 w 1658"/>
                <a:gd name="T9" fmla="*/ 1831 h 2307"/>
                <a:gd name="T10" fmla="*/ 451 w 1658"/>
                <a:gd name="T11" fmla="*/ 2043 h 2307"/>
                <a:gd name="T12" fmla="*/ 451 w 1658"/>
                <a:gd name="T13" fmla="*/ 2043 h 2307"/>
                <a:gd name="T14" fmla="*/ 622 w 1658"/>
                <a:gd name="T15" fmla="*/ 2223 h 2307"/>
                <a:gd name="T16" fmla="*/ 690 w 1658"/>
                <a:gd name="T17" fmla="*/ 2290 h 2307"/>
                <a:gd name="T18" fmla="*/ 749 w 1658"/>
                <a:gd name="T19" fmla="*/ 2307 h 2307"/>
                <a:gd name="T20" fmla="*/ 909 w 1658"/>
                <a:gd name="T21" fmla="*/ 2307 h 2307"/>
                <a:gd name="T22" fmla="*/ 968 w 1658"/>
                <a:gd name="T23" fmla="*/ 2290 h 2307"/>
                <a:gd name="T24" fmla="*/ 1036 w 1658"/>
                <a:gd name="T25" fmla="*/ 2223 h 2307"/>
                <a:gd name="T26" fmla="*/ 1207 w 1658"/>
                <a:gd name="T27" fmla="*/ 2043 h 2307"/>
                <a:gd name="T28" fmla="*/ 1219 w 1658"/>
                <a:gd name="T29" fmla="*/ 1831 h 2307"/>
                <a:gd name="T30" fmla="*/ 1373 w 1658"/>
                <a:gd name="T31" fmla="*/ 1555 h 2307"/>
                <a:gd name="T32" fmla="*/ 1457 w 1658"/>
                <a:gd name="T33" fmla="*/ 1385 h 2307"/>
                <a:gd name="T34" fmla="*/ 1658 w 1658"/>
                <a:gd name="T35" fmla="*/ 802 h 2307"/>
                <a:gd name="T36" fmla="*/ 829 w 1658"/>
                <a:gd name="T37" fmla="*/ 0 h 2307"/>
                <a:gd name="T38" fmla="*/ 1283 w 1658"/>
                <a:gd name="T39" fmla="*/ 1268 h 2307"/>
                <a:gd name="T40" fmla="*/ 1164 w 1658"/>
                <a:gd name="T41" fmla="*/ 1555 h 2307"/>
                <a:gd name="T42" fmla="*/ 1085 w 1658"/>
                <a:gd name="T43" fmla="*/ 1668 h 2307"/>
                <a:gd name="T44" fmla="*/ 573 w 1658"/>
                <a:gd name="T45" fmla="*/ 1668 h 2307"/>
                <a:gd name="T46" fmla="*/ 494 w 1658"/>
                <a:gd name="T47" fmla="*/ 1555 h 2307"/>
                <a:gd name="T48" fmla="*/ 374 w 1658"/>
                <a:gd name="T49" fmla="*/ 1266 h 2307"/>
                <a:gd name="T50" fmla="*/ 209 w 1658"/>
                <a:gd name="T51" fmla="*/ 802 h 2307"/>
                <a:gd name="T52" fmla="*/ 829 w 1658"/>
                <a:gd name="T53" fmla="*/ 210 h 2307"/>
                <a:gd name="T54" fmla="*/ 1449 w 1658"/>
                <a:gd name="T55" fmla="*/ 802 h 2307"/>
                <a:gd name="T56" fmla="*/ 1283 w 1658"/>
                <a:gd name="T57" fmla="*/ 1268 h 2307"/>
                <a:gd name="T58" fmla="*/ 1283 w 1658"/>
                <a:gd name="T59" fmla="*/ 1268 h 2307"/>
                <a:gd name="T60" fmla="*/ 1283 w 1658"/>
                <a:gd name="T61" fmla="*/ 1268 h 2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58" h="2307">
                  <a:moveTo>
                    <a:pt x="829" y="0"/>
                  </a:moveTo>
                  <a:cubicBezTo>
                    <a:pt x="372" y="0"/>
                    <a:pt x="0" y="360"/>
                    <a:pt x="0" y="802"/>
                  </a:cubicBezTo>
                  <a:cubicBezTo>
                    <a:pt x="0" y="1089"/>
                    <a:pt x="116" y="1260"/>
                    <a:pt x="202" y="1386"/>
                  </a:cubicBezTo>
                  <a:cubicBezTo>
                    <a:pt x="255" y="1463"/>
                    <a:pt x="285" y="1509"/>
                    <a:pt x="285" y="1555"/>
                  </a:cubicBezTo>
                  <a:cubicBezTo>
                    <a:pt x="285" y="1659"/>
                    <a:pt x="340" y="1757"/>
                    <a:pt x="439" y="1831"/>
                  </a:cubicBezTo>
                  <a:cubicBezTo>
                    <a:pt x="442" y="1893"/>
                    <a:pt x="451" y="2043"/>
                    <a:pt x="451" y="2043"/>
                  </a:cubicBezTo>
                  <a:cubicBezTo>
                    <a:pt x="451" y="2043"/>
                    <a:pt x="451" y="2043"/>
                    <a:pt x="451" y="2043"/>
                  </a:cubicBezTo>
                  <a:cubicBezTo>
                    <a:pt x="452" y="2086"/>
                    <a:pt x="475" y="2174"/>
                    <a:pt x="622" y="2223"/>
                  </a:cubicBezTo>
                  <a:cubicBezTo>
                    <a:pt x="640" y="2248"/>
                    <a:pt x="662" y="2271"/>
                    <a:pt x="690" y="2290"/>
                  </a:cubicBezTo>
                  <a:cubicBezTo>
                    <a:pt x="707" y="2301"/>
                    <a:pt x="728" y="2307"/>
                    <a:pt x="749" y="2307"/>
                  </a:cubicBezTo>
                  <a:cubicBezTo>
                    <a:pt x="909" y="2307"/>
                    <a:pt x="909" y="2307"/>
                    <a:pt x="909" y="2307"/>
                  </a:cubicBezTo>
                  <a:cubicBezTo>
                    <a:pt x="930" y="2307"/>
                    <a:pt x="950" y="2301"/>
                    <a:pt x="968" y="2290"/>
                  </a:cubicBezTo>
                  <a:cubicBezTo>
                    <a:pt x="995" y="2271"/>
                    <a:pt x="1018" y="2248"/>
                    <a:pt x="1036" y="2223"/>
                  </a:cubicBezTo>
                  <a:cubicBezTo>
                    <a:pt x="1184" y="2173"/>
                    <a:pt x="1206" y="2085"/>
                    <a:pt x="1207" y="2043"/>
                  </a:cubicBezTo>
                  <a:cubicBezTo>
                    <a:pt x="1207" y="2043"/>
                    <a:pt x="1216" y="1893"/>
                    <a:pt x="1219" y="1831"/>
                  </a:cubicBezTo>
                  <a:cubicBezTo>
                    <a:pt x="1318" y="1758"/>
                    <a:pt x="1373" y="1659"/>
                    <a:pt x="1373" y="1555"/>
                  </a:cubicBezTo>
                  <a:cubicBezTo>
                    <a:pt x="1373" y="1509"/>
                    <a:pt x="1403" y="1463"/>
                    <a:pt x="1457" y="1385"/>
                  </a:cubicBezTo>
                  <a:cubicBezTo>
                    <a:pt x="1542" y="1260"/>
                    <a:pt x="1658" y="1089"/>
                    <a:pt x="1658" y="802"/>
                  </a:cubicBezTo>
                  <a:cubicBezTo>
                    <a:pt x="1658" y="360"/>
                    <a:pt x="1286" y="0"/>
                    <a:pt x="829" y="0"/>
                  </a:cubicBezTo>
                  <a:close/>
                  <a:moveTo>
                    <a:pt x="1283" y="1268"/>
                  </a:moveTo>
                  <a:cubicBezTo>
                    <a:pt x="1221" y="1357"/>
                    <a:pt x="1164" y="1442"/>
                    <a:pt x="1164" y="1555"/>
                  </a:cubicBezTo>
                  <a:cubicBezTo>
                    <a:pt x="1164" y="1605"/>
                    <a:pt x="1119" y="1645"/>
                    <a:pt x="1085" y="1668"/>
                  </a:cubicBezTo>
                  <a:cubicBezTo>
                    <a:pt x="573" y="1668"/>
                    <a:pt x="573" y="1668"/>
                    <a:pt x="573" y="1668"/>
                  </a:cubicBezTo>
                  <a:cubicBezTo>
                    <a:pt x="539" y="1645"/>
                    <a:pt x="494" y="1605"/>
                    <a:pt x="494" y="1555"/>
                  </a:cubicBezTo>
                  <a:cubicBezTo>
                    <a:pt x="494" y="1442"/>
                    <a:pt x="436" y="1357"/>
                    <a:pt x="374" y="1266"/>
                  </a:cubicBezTo>
                  <a:cubicBezTo>
                    <a:pt x="297" y="1153"/>
                    <a:pt x="209" y="1024"/>
                    <a:pt x="209" y="802"/>
                  </a:cubicBezTo>
                  <a:cubicBezTo>
                    <a:pt x="209" y="476"/>
                    <a:pt x="487" y="210"/>
                    <a:pt x="829" y="210"/>
                  </a:cubicBezTo>
                  <a:cubicBezTo>
                    <a:pt x="1171" y="210"/>
                    <a:pt x="1449" y="476"/>
                    <a:pt x="1449" y="802"/>
                  </a:cubicBezTo>
                  <a:cubicBezTo>
                    <a:pt x="1449" y="1025"/>
                    <a:pt x="1361" y="1153"/>
                    <a:pt x="1283" y="1268"/>
                  </a:cubicBezTo>
                  <a:close/>
                  <a:moveTo>
                    <a:pt x="1283" y="1268"/>
                  </a:moveTo>
                  <a:cubicBezTo>
                    <a:pt x="1283" y="1268"/>
                    <a:pt x="1283" y="1268"/>
                    <a:pt x="1283" y="12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8680451" y="3175"/>
              <a:ext cx="263525" cy="658813"/>
            </a:xfrm>
            <a:custGeom>
              <a:avLst/>
              <a:gdLst>
                <a:gd name="T0" fmla="*/ 53 w 105"/>
                <a:gd name="T1" fmla="*/ 262 h 262"/>
                <a:gd name="T2" fmla="*/ 105 w 105"/>
                <a:gd name="T3" fmla="*/ 210 h 262"/>
                <a:gd name="T4" fmla="*/ 105 w 105"/>
                <a:gd name="T5" fmla="*/ 52 h 262"/>
                <a:gd name="T6" fmla="*/ 53 w 105"/>
                <a:gd name="T7" fmla="*/ 0 h 262"/>
                <a:gd name="T8" fmla="*/ 0 w 105"/>
                <a:gd name="T9" fmla="*/ 52 h 262"/>
                <a:gd name="T10" fmla="*/ 0 w 105"/>
                <a:gd name="T11" fmla="*/ 210 h 262"/>
                <a:gd name="T12" fmla="*/ 53 w 105"/>
                <a:gd name="T13" fmla="*/ 262 h 262"/>
                <a:gd name="T14" fmla="*/ 53 w 105"/>
                <a:gd name="T15" fmla="*/ 262 h 262"/>
                <a:gd name="T16" fmla="*/ 53 w 105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62">
                  <a:moveTo>
                    <a:pt x="53" y="262"/>
                  </a:moveTo>
                  <a:cubicBezTo>
                    <a:pt x="82" y="262"/>
                    <a:pt x="105" y="239"/>
                    <a:pt x="105" y="210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24"/>
                    <a:pt x="82" y="0"/>
                    <a:pt x="53" y="0"/>
                  </a:cubicBezTo>
                  <a:cubicBezTo>
                    <a:pt x="24" y="0"/>
                    <a:pt x="0" y="24"/>
                    <a:pt x="0" y="52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39"/>
                    <a:pt x="24" y="262"/>
                    <a:pt x="53" y="262"/>
                  </a:cubicBezTo>
                  <a:close/>
                  <a:moveTo>
                    <a:pt x="53" y="262"/>
                  </a:moveTo>
                  <a:cubicBezTo>
                    <a:pt x="53" y="262"/>
                    <a:pt x="53" y="262"/>
                    <a:pt x="53" y="2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7178676" y="382588"/>
              <a:ext cx="498475" cy="623888"/>
            </a:xfrm>
            <a:custGeom>
              <a:avLst/>
              <a:gdLst>
                <a:gd name="T0" fmla="*/ 93 w 198"/>
                <a:gd name="T1" fmla="*/ 222 h 248"/>
                <a:gd name="T2" fmla="*/ 138 w 198"/>
                <a:gd name="T3" fmla="*/ 248 h 248"/>
                <a:gd name="T4" fmla="*/ 164 w 198"/>
                <a:gd name="T5" fmla="*/ 241 h 248"/>
                <a:gd name="T6" fmla="*/ 184 w 198"/>
                <a:gd name="T7" fmla="*/ 170 h 248"/>
                <a:gd name="T8" fmla="*/ 105 w 198"/>
                <a:gd name="T9" fmla="*/ 33 h 248"/>
                <a:gd name="T10" fmla="*/ 33 w 198"/>
                <a:gd name="T11" fmla="*/ 14 h 248"/>
                <a:gd name="T12" fmla="*/ 14 w 198"/>
                <a:gd name="T13" fmla="*/ 86 h 248"/>
                <a:gd name="T14" fmla="*/ 93 w 198"/>
                <a:gd name="T15" fmla="*/ 222 h 248"/>
                <a:gd name="T16" fmla="*/ 93 w 198"/>
                <a:gd name="T17" fmla="*/ 222 h 248"/>
                <a:gd name="T18" fmla="*/ 93 w 198"/>
                <a:gd name="T19" fmla="*/ 2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93" y="222"/>
                  </a:moveTo>
                  <a:cubicBezTo>
                    <a:pt x="103" y="239"/>
                    <a:pt x="120" y="248"/>
                    <a:pt x="138" y="248"/>
                  </a:cubicBezTo>
                  <a:cubicBezTo>
                    <a:pt x="147" y="248"/>
                    <a:pt x="156" y="246"/>
                    <a:pt x="164" y="241"/>
                  </a:cubicBezTo>
                  <a:cubicBezTo>
                    <a:pt x="190" y="227"/>
                    <a:pt x="198" y="195"/>
                    <a:pt x="184" y="170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91" y="8"/>
                    <a:pt x="59" y="0"/>
                    <a:pt x="33" y="14"/>
                  </a:cubicBezTo>
                  <a:cubicBezTo>
                    <a:pt x="8" y="29"/>
                    <a:pt x="0" y="61"/>
                    <a:pt x="14" y="86"/>
                  </a:cubicBezTo>
                  <a:lnTo>
                    <a:pt x="93" y="222"/>
                  </a:lnTo>
                  <a:close/>
                  <a:moveTo>
                    <a:pt x="93" y="222"/>
                  </a:moveTo>
                  <a:cubicBezTo>
                    <a:pt x="93" y="222"/>
                    <a:pt x="93" y="222"/>
                    <a:pt x="93" y="2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6092826" y="1468438"/>
              <a:ext cx="644525" cy="481013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4 w 256"/>
                <a:gd name="T5" fmla="*/ 34 h 191"/>
                <a:gd name="T6" fmla="*/ 33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1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4" y="34"/>
                  </a:cubicBezTo>
                  <a:cubicBezTo>
                    <a:pt x="0" y="59"/>
                    <a:pt x="8" y="91"/>
                    <a:pt x="33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9"/>
                    <a:pt x="187" y="191"/>
                    <a:pt x="196" y="191"/>
                  </a:cubicBezTo>
                  <a:cubicBezTo>
                    <a:pt x="214" y="191"/>
                    <a:pt x="231" y="181"/>
                    <a:pt x="241" y="164"/>
                  </a:cubicBezTo>
                  <a:cubicBezTo>
                    <a:pt x="256" y="140"/>
                    <a:pt x="247" y="108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5713413" y="2970213"/>
              <a:ext cx="658813" cy="263525"/>
            </a:xfrm>
            <a:custGeom>
              <a:avLst/>
              <a:gdLst>
                <a:gd name="T0" fmla="*/ 262 w 262"/>
                <a:gd name="T1" fmla="*/ 53 h 105"/>
                <a:gd name="T2" fmla="*/ 210 w 262"/>
                <a:gd name="T3" fmla="*/ 0 h 105"/>
                <a:gd name="T4" fmla="*/ 52 w 262"/>
                <a:gd name="T5" fmla="*/ 0 h 105"/>
                <a:gd name="T6" fmla="*/ 0 w 262"/>
                <a:gd name="T7" fmla="*/ 53 h 105"/>
                <a:gd name="T8" fmla="*/ 52 w 262"/>
                <a:gd name="T9" fmla="*/ 105 h 105"/>
                <a:gd name="T10" fmla="*/ 210 w 262"/>
                <a:gd name="T11" fmla="*/ 105 h 105"/>
                <a:gd name="T12" fmla="*/ 262 w 262"/>
                <a:gd name="T13" fmla="*/ 53 h 105"/>
                <a:gd name="T14" fmla="*/ 262 w 262"/>
                <a:gd name="T15" fmla="*/ 53 h 105"/>
                <a:gd name="T16" fmla="*/ 262 w 262"/>
                <a:gd name="T1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62" y="53"/>
                  </a:moveTo>
                  <a:cubicBezTo>
                    <a:pt x="262" y="24"/>
                    <a:pt x="239" y="0"/>
                    <a:pt x="21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39" y="105"/>
                    <a:pt x="262" y="82"/>
                    <a:pt x="262" y="53"/>
                  </a:cubicBezTo>
                  <a:close/>
                  <a:moveTo>
                    <a:pt x="262" y="53"/>
                  </a:moveTo>
                  <a:cubicBezTo>
                    <a:pt x="262" y="53"/>
                    <a:pt x="262" y="53"/>
                    <a:pt x="262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6092826" y="4240213"/>
              <a:ext cx="644525" cy="479425"/>
            </a:xfrm>
            <a:custGeom>
              <a:avLst/>
              <a:gdLst>
                <a:gd name="T0" fmla="*/ 170 w 256"/>
                <a:gd name="T1" fmla="*/ 14 h 191"/>
                <a:gd name="T2" fmla="*/ 33 w 256"/>
                <a:gd name="T3" fmla="*/ 93 h 191"/>
                <a:gd name="T4" fmla="*/ 14 w 256"/>
                <a:gd name="T5" fmla="*/ 164 h 191"/>
                <a:gd name="T6" fmla="*/ 59 w 256"/>
                <a:gd name="T7" fmla="*/ 191 h 191"/>
                <a:gd name="T8" fmla="*/ 86 w 256"/>
                <a:gd name="T9" fmla="*/ 184 h 191"/>
                <a:gd name="T10" fmla="*/ 222 w 256"/>
                <a:gd name="T11" fmla="*/ 105 h 191"/>
                <a:gd name="T12" fmla="*/ 241 w 256"/>
                <a:gd name="T13" fmla="*/ 33 h 191"/>
                <a:gd name="T14" fmla="*/ 170 w 256"/>
                <a:gd name="T15" fmla="*/ 14 h 191"/>
                <a:gd name="T16" fmla="*/ 170 w 256"/>
                <a:gd name="T17" fmla="*/ 14 h 191"/>
                <a:gd name="T18" fmla="*/ 170 w 256"/>
                <a:gd name="T19" fmla="*/ 1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170" y="14"/>
                  </a:moveTo>
                  <a:cubicBezTo>
                    <a:pt x="33" y="93"/>
                    <a:pt x="33" y="93"/>
                    <a:pt x="33" y="93"/>
                  </a:cubicBezTo>
                  <a:cubicBezTo>
                    <a:pt x="8" y="107"/>
                    <a:pt x="0" y="139"/>
                    <a:pt x="14" y="164"/>
                  </a:cubicBezTo>
                  <a:cubicBezTo>
                    <a:pt x="24" y="181"/>
                    <a:pt x="42" y="191"/>
                    <a:pt x="59" y="191"/>
                  </a:cubicBezTo>
                  <a:cubicBezTo>
                    <a:pt x="68" y="191"/>
                    <a:pt x="78" y="188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7" y="90"/>
                    <a:pt x="256" y="58"/>
                    <a:pt x="241" y="33"/>
                  </a:cubicBezTo>
                  <a:cubicBezTo>
                    <a:pt x="227" y="8"/>
                    <a:pt x="195" y="0"/>
                    <a:pt x="170" y="14"/>
                  </a:cubicBezTo>
                  <a:close/>
                  <a:moveTo>
                    <a:pt x="170" y="14"/>
                  </a:moveTo>
                  <a:cubicBezTo>
                    <a:pt x="170" y="14"/>
                    <a:pt x="170" y="14"/>
                    <a:pt x="170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10890251" y="4240213"/>
              <a:ext cx="644525" cy="479425"/>
            </a:xfrm>
            <a:custGeom>
              <a:avLst/>
              <a:gdLst>
                <a:gd name="T0" fmla="*/ 222 w 256"/>
                <a:gd name="T1" fmla="*/ 93 h 191"/>
                <a:gd name="T2" fmla="*/ 86 w 256"/>
                <a:gd name="T3" fmla="*/ 14 h 191"/>
                <a:gd name="T4" fmla="*/ 15 w 256"/>
                <a:gd name="T5" fmla="*/ 33 h 191"/>
                <a:gd name="T6" fmla="*/ 34 w 256"/>
                <a:gd name="T7" fmla="*/ 105 h 191"/>
                <a:gd name="T8" fmla="*/ 170 w 256"/>
                <a:gd name="T9" fmla="*/ 184 h 191"/>
                <a:gd name="T10" fmla="*/ 196 w 256"/>
                <a:gd name="T11" fmla="*/ 191 h 191"/>
                <a:gd name="T12" fmla="*/ 242 w 256"/>
                <a:gd name="T13" fmla="*/ 164 h 191"/>
                <a:gd name="T14" fmla="*/ 222 w 256"/>
                <a:gd name="T15" fmla="*/ 93 h 191"/>
                <a:gd name="T16" fmla="*/ 222 w 256"/>
                <a:gd name="T17" fmla="*/ 93 h 191"/>
                <a:gd name="T18" fmla="*/ 222 w 256"/>
                <a:gd name="T19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222" y="93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61" y="0"/>
                    <a:pt x="29" y="8"/>
                    <a:pt x="15" y="33"/>
                  </a:cubicBezTo>
                  <a:cubicBezTo>
                    <a:pt x="0" y="58"/>
                    <a:pt x="9" y="90"/>
                    <a:pt x="34" y="105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78" y="188"/>
                    <a:pt x="187" y="191"/>
                    <a:pt x="196" y="191"/>
                  </a:cubicBezTo>
                  <a:cubicBezTo>
                    <a:pt x="214" y="191"/>
                    <a:pt x="232" y="181"/>
                    <a:pt x="242" y="164"/>
                  </a:cubicBezTo>
                  <a:cubicBezTo>
                    <a:pt x="256" y="139"/>
                    <a:pt x="248" y="107"/>
                    <a:pt x="222" y="93"/>
                  </a:cubicBezTo>
                  <a:close/>
                  <a:moveTo>
                    <a:pt x="222" y="93"/>
                  </a:moveTo>
                  <a:cubicBezTo>
                    <a:pt x="222" y="93"/>
                    <a:pt x="222" y="93"/>
                    <a:pt x="222" y="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11255376" y="2970213"/>
              <a:ext cx="658813" cy="263525"/>
            </a:xfrm>
            <a:custGeom>
              <a:avLst/>
              <a:gdLst>
                <a:gd name="T0" fmla="*/ 209 w 262"/>
                <a:gd name="T1" fmla="*/ 0 h 105"/>
                <a:gd name="T2" fmla="*/ 52 w 262"/>
                <a:gd name="T3" fmla="*/ 0 h 105"/>
                <a:gd name="T4" fmla="*/ 0 w 262"/>
                <a:gd name="T5" fmla="*/ 53 h 105"/>
                <a:gd name="T6" fmla="*/ 52 w 262"/>
                <a:gd name="T7" fmla="*/ 105 h 105"/>
                <a:gd name="T8" fmla="*/ 209 w 262"/>
                <a:gd name="T9" fmla="*/ 105 h 105"/>
                <a:gd name="T10" fmla="*/ 262 w 262"/>
                <a:gd name="T11" fmla="*/ 53 h 105"/>
                <a:gd name="T12" fmla="*/ 209 w 262"/>
                <a:gd name="T13" fmla="*/ 0 h 105"/>
                <a:gd name="T14" fmla="*/ 209 w 262"/>
                <a:gd name="T15" fmla="*/ 0 h 105"/>
                <a:gd name="T16" fmla="*/ 209 w 262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05">
                  <a:moveTo>
                    <a:pt x="20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38" y="105"/>
                    <a:pt x="262" y="82"/>
                    <a:pt x="262" y="53"/>
                  </a:cubicBezTo>
                  <a:cubicBezTo>
                    <a:pt x="262" y="24"/>
                    <a:pt x="238" y="0"/>
                    <a:pt x="209" y="0"/>
                  </a:cubicBezTo>
                  <a:close/>
                  <a:moveTo>
                    <a:pt x="209" y="0"/>
                  </a:moveTo>
                  <a:cubicBezTo>
                    <a:pt x="209" y="0"/>
                    <a:pt x="209" y="0"/>
                    <a:pt x="20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0890251" y="1468438"/>
              <a:ext cx="644525" cy="481013"/>
            </a:xfrm>
            <a:custGeom>
              <a:avLst/>
              <a:gdLst>
                <a:gd name="T0" fmla="*/ 60 w 256"/>
                <a:gd name="T1" fmla="*/ 191 h 191"/>
                <a:gd name="T2" fmla="*/ 86 w 256"/>
                <a:gd name="T3" fmla="*/ 184 h 191"/>
                <a:gd name="T4" fmla="*/ 222 w 256"/>
                <a:gd name="T5" fmla="*/ 105 h 191"/>
                <a:gd name="T6" fmla="*/ 242 w 256"/>
                <a:gd name="T7" fmla="*/ 34 h 191"/>
                <a:gd name="T8" fmla="*/ 170 w 256"/>
                <a:gd name="T9" fmla="*/ 14 h 191"/>
                <a:gd name="T10" fmla="*/ 34 w 256"/>
                <a:gd name="T11" fmla="*/ 93 h 191"/>
                <a:gd name="T12" fmla="*/ 15 w 256"/>
                <a:gd name="T13" fmla="*/ 164 h 191"/>
                <a:gd name="T14" fmla="*/ 60 w 256"/>
                <a:gd name="T15" fmla="*/ 191 h 191"/>
                <a:gd name="T16" fmla="*/ 60 w 256"/>
                <a:gd name="T17" fmla="*/ 191 h 191"/>
                <a:gd name="T18" fmla="*/ 60 w 256"/>
                <a:gd name="T1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191">
                  <a:moveTo>
                    <a:pt x="60" y="191"/>
                  </a:moveTo>
                  <a:cubicBezTo>
                    <a:pt x="69" y="191"/>
                    <a:pt x="78" y="189"/>
                    <a:pt x="86" y="184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48" y="91"/>
                    <a:pt x="256" y="59"/>
                    <a:pt x="242" y="34"/>
                  </a:cubicBezTo>
                  <a:cubicBezTo>
                    <a:pt x="227" y="8"/>
                    <a:pt x="195" y="0"/>
                    <a:pt x="170" y="1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9" y="108"/>
                    <a:pt x="0" y="140"/>
                    <a:pt x="15" y="164"/>
                  </a:cubicBezTo>
                  <a:cubicBezTo>
                    <a:pt x="24" y="181"/>
                    <a:pt x="42" y="191"/>
                    <a:pt x="60" y="191"/>
                  </a:cubicBezTo>
                  <a:close/>
                  <a:moveTo>
                    <a:pt x="60" y="191"/>
                  </a:moveTo>
                  <a:cubicBezTo>
                    <a:pt x="60" y="191"/>
                    <a:pt x="60" y="191"/>
                    <a:pt x="60" y="1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9950451" y="382588"/>
              <a:ext cx="498475" cy="623888"/>
            </a:xfrm>
            <a:custGeom>
              <a:avLst/>
              <a:gdLst>
                <a:gd name="T0" fmla="*/ 33 w 198"/>
                <a:gd name="T1" fmla="*/ 241 h 248"/>
                <a:gd name="T2" fmla="*/ 59 w 198"/>
                <a:gd name="T3" fmla="*/ 248 h 248"/>
                <a:gd name="T4" fmla="*/ 105 w 198"/>
                <a:gd name="T5" fmla="*/ 222 h 248"/>
                <a:gd name="T6" fmla="*/ 183 w 198"/>
                <a:gd name="T7" fmla="*/ 86 h 248"/>
                <a:gd name="T8" fmla="*/ 164 w 198"/>
                <a:gd name="T9" fmla="*/ 14 h 248"/>
                <a:gd name="T10" fmla="*/ 93 w 198"/>
                <a:gd name="T11" fmla="*/ 33 h 248"/>
                <a:gd name="T12" fmla="*/ 14 w 198"/>
                <a:gd name="T13" fmla="*/ 170 h 248"/>
                <a:gd name="T14" fmla="*/ 33 w 198"/>
                <a:gd name="T15" fmla="*/ 241 h 248"/>
                <a:gd name="T16" fmla="*/ 33 w 198"/>
                <a:gd name="T17" fmla="*/ 241 h 248"/>
                <a:gd name="T18" fmla="*/ 33 w 198"/>
                <a:gd name="T19" fmla="*/ 24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48">
                  <a:moveTo>
                    <a:pt x="33" y="241"/>
                  </a:moveTo>
                  <a:cubicBezTo>
                    <a:pt x="42" y="246"/>
                    <a:pt x="51" y="248"/>
                    <a:pt x="59" y="248"/>
                  </a:cubicBezTo>
                  <a:cubicBezTo>
                    <a:pt x="78" y="248"/>
                    <a:pt x="95" y="239"/>
                    <a:pt x="105" y="222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98" y="61"/>
                    <a:pt x="189" y="29"/>
                    <a:pt x="164" y="14"/>
                  </a:cubicBezTo>
                  <a:cubicBezTo>
                    <a:pt x="139" y="0"/>
                    <a:pt x="107" y="8"/>
                    <a:pt x="93" y="33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0" y="195"/>
                    <a:pt x="8" y="227"/>
                    <a:pt x="33" y="241"/>
                  </a:cubicBezTo>
                  <a:close/>
                  <a:moveTo>
                    <a:pt x="33" y="241"/>
                  </a:moveTo>
                  <a:cubicBezTo>
                    <a:pt x="33" y="241"/>
                    <a:pt x="33" y="241"/>
                    <a:pt x="33" y="2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8496301" y="1993900"/>
              <a:ext cx="635000" cy="2054225"/>
            </a:xfrm>
            <a:custGeom>
              <a:avLst/>
              <a:gdLst>
                <a:gd name="T0" fmla="*/ 56 w 252"/>
                <a:gd name="T1" fmla="*/ 758 h 817"/>
                <a:gd name="T2" fmla="*/ 126 w 252"/>
                <a:gd name="T3" fmla="*/ 817 h 817"/>
                <a:gd name="T4" fmla="*/ 196 w 252"/>
                <a:gd name="T5" fmla="*/ 758 h 817"/>
                <a:gd name="T6" fmla="*/ 246 w 252"/>
                <a:gd name="T7" fmla="*/ 384 h 817"/>
                <a:gd name="T8" fmla="*/ 252 w 252"/>
                <a:gd name="T9" fmla="*/ 309 h 817"/>
                <a:gd name="T10" fmla="*/ 252 w 252"/>
                <a:gd name="T11" fmla="*/ 123 h 817"/>
                <a:gd name="T12" fmla="*/ 126 w 252"/>
                <a:gd name="T13" fmla="*/ 0 h 817"/>
                <a:gd name="T14" fmla="*/ 0 w 252"/>
                <a:gd name="T15" fmla="*/ 123 h 817"/>
                <a:gd name="T16" fmla="*/ 0 w 252"/>
                <a:gd name="T17" fmla="*/ 309 h 817"/>
                <a:gd name="T18" fmla="*/ 6 w 252"/>
                <a:gd name="T19" fmla="*/ 384 h 817"/>
                <a:gd name="T20" fmla="*/ 56 w 252"/>
                <a:gd name="T21" fmla="*/ 758 h 817"/>
                <a:gd name="T22" fmla="*/ 56 w 252"/>
                <a:gd name="T23" fmla="*/ 758 h 817"/>
                <a:gd name="T24" fmla="*/ 56 w 252"/>
                <a:gd name="T25" fmla="*/ 75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817">
                  <a:moveTo>
                    <a:pt x="56" y="758"/>
                  </a:moveTo>
                  <a:cubicBezTo>
                    <a:pt x="62" y="804"/>
                    <a:pt x="84" y="817"/>
                    <a:pt x="126" y="817"/>
                  </a:cubicBezTo>
                  <a:cubicBezTo>
                    <a:pt x="167" y="817"/>
                    <a:pt x="190" y="804"/>
                    <a:pt x="196" y="758"/>
                  </a:cubicBezTo>
                  <a:cubicBezTo>
                    <a:pt x="246" y="384"/>
                    <a:pt x="246" y="384"/>
                    <a:pt x="246" y="384"/>
                  </a:cubicBezTo>
                  <a:cubicBezTo>
                    <a:pt x="249" y="358"/>
                    <a:pt x="252" y="332"/>
                    <a:pt x="252" y="309"/>
                  </a:cubicBezTo>
                  <a:cubicBezTo>
                    <a:pt x="252" y="123"/>
                    <a:pt x="252" y="123"/>
                    <a:pt x="252" y="123"/>
                  </a:cubicBezTo>
                  <a:cubicBezTo>
                    <a:pt x="252" y="42"/>
                    <a:pt x="206" y="0"/>
                    <a:pt x="126" y="0"/>
                  </a:cubicBezTo>
                  <a:cubicBezTo>
                    <a:pt x="46" y="0"/>
                    <a:pt x="0" y="42"/>
                    <a:pt x="0" y="123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32"/>
                    <a:pt x="3" y="358"/>
                    <a:pt x="6" y="384"/>
                  </a:cubicBezTo>
                  <a:lnTo>
                    <a:pt x="56" y="758"/>
                  </a:lnTo>
                  <a:close/>
                  <a:moveTo>
                    <a:pt x="56" y="758"/>
                  </a:moveTo>
                  <a:cubicBezTo>
                    <a:pt x="56" y="758"/>
                    <a:pt x="56" y="758"/>
                    <a:pt x="56" y="7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8485188" y="4310063"/>
              <a:ext cx="657225" cy="658813"/>
            </a:xfrm>
            <a:custGeom>
              <a:avLst/>
              <a:gdLst>
                <a:gd name="T0" fmla="*/ 131 w 262"/>
                <a:gd name="T1" fmla="*/ 0 h 262"/>
                <a:gd name="T2" fmla="*/ 0 w 262"/>
                <a:gd name="T3" fmla="*/ 131 h 262"/>
                <a:gd name="T4" fmla="*/ 131 w 262"/>
                <a:gd name="T5" fmla="*/ 262 h 262"/>
                <a:gd name="T6" fmla="*/ 262 w 262"/>
                <a:gd name="T7" fmla="*/ 131 h 262"/>
                <a:gd name="T8" fmla="*/ 131 w 262"/>
                <a:gd name="T9" fmla="*/ 0 h 262"/>
                <a:gd name="T10" fmla="*/ 131 w 262"/>
                <a:gd name="T11" fmla="*/ 0 h 262"/>
                <a:gd name="T12" fmla="*/ 131 w 262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262">
                  <a:moveTo>
                    <a:pt x="131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2"/>
                    <a:pt x="59" y="262"/>
                    <a:pt x="131" y="262"/>
                  </a:cubicBezTo>
                  <a:cubicBezTo>
                    <a:pt x="203" y="262"/>
                    <a:pt x="262" y="202"/>
                    <a:pt x="262" y="131"/>
                  </a:cubicBezTo>
                  <a:cubicBezTo>
                    <a:pt x="262" y="59"/>
                    <a:pt x="203" y="0"/>
                    <a:pt x="131" y="0"/>
                  </a:cubicBezTo>
                  <a:close/>
                  <a:moveTo>
                    <a:pt x="131" y="0"/>
                  </a:move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286"/>
                </a:solidFill>
              </a:endParaRPr>
            </a:p>
          </p:txBody>
        </p:sp>
      </p:grpSp>
      <p:pic>
        <p:nvPicPr>
          <p:cNvPr id="25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BEE5035A-F735-8B0A-9DCF-DDF4C0DA46AC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2381" b="12381"/>
          <a:stretch>
            <a:fillRect/>
          </a:stretch>
        </p:blipFill>
        <p:spPr>
          <a:xfrm>
            <a:off x="2987824" y="2955744"/>
            <a:ext cx="3168352" cy="1668299"/>
          </a:xfrm>
        </p:spPr>
      </p:pic>
    </p:spTree>
    <p:extLst>
      <p:ext uri="{BB962C8B-B14F-4D97-AF65-F5344CB8AC3E}">
        <p14:creationId xmlns:p14="http://schemas.microsoft.com/office/powerpoint/2010/main" val="302626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dirty="0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unctional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40F43B-428C-1511-9505-4C6EF9F08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6418" y="756688"/>
            <a:ext cx="4255812" cy="311120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E65FC35-74D5-8971-807A-B0F6A2276189}"/>
              </a:ext>
            </a:extLst>
          </p:cNvPr>
          <p:cNvGrpSpPr/>
          <p:nvPr/>
        </p:nvGrpSpPr>
        <p:grpSpPr>
          <a:xfrm>
            <a:off x="354023" y="1106241"/>
            <a:ext cx="3511597" cy="270000"/>
            <a:chOff x="5277600" y="1334174"/>
            <a:chExt cx="3511597" cy="270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E3B5019-B8A1-D6D5-2B4A-E3BA5867C226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C102D7B-9957-11DD-1451-F9A799C1ABE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 (With discount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7" name="Graphic 6" descr="Close with solid fill">
              <a:extLst>
                <a:ext uri="{FF2B5EF4-FFF2-40B4-BE49-F238E27FC236}">
                  <a16:creationId xmlns:a16="http://schemas.microsoft.com/office/drawing/2014/main" id="{857CABD5-E1AE-9AA9-9B68-84D75BDD8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D5E5C49-6E02-74EC-C35A-0F22A9AD2BE9}"/>
              </a:ext>
            </a:extLst>
          </p:cNvPr>
          <p:cNvGrpSpPr/>
          <p:nvPr/>
        </p:nvGrpSpPr>
        <p:grpSpPr>
          <a:xfrm>
            <a:off x="354023" y="1442778"/>
            <a:ext cx="3511597" cy="270000"/>
            <a:chOff x="5277600" y="1334174"/>
            <a:chExt cx="3511597" cy="270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7441D5-090A-56BE-7CB6-74B281124D6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A0A70BD-4E9F-3DBF-B15C-122D7393EB00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Error flow (Catalog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lose with solid fill">
              <a:extLst>
                <a:ext uri="{FF2B5EF4-FFF2-40B4-BE49-F238E27FC236}">
                  <a16:creationId xmlns:a16="http://schemas.microsoft.com/office/drawing/2014/main" id="{8533FEA6-8F79-39FB-8B3C-2B247665D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261955-1F1E-EC44-065F-ADB73FA4D20E}"/>
              </a:ext>
            </a:extLst>
          </p:cNvPr>
          <p:cNvGrpSpPr/>
          <p:nvPr/>
        </p:nvGrpSpPr>
        <p:grpSpPr>
          <a:xfrm>
            <a:off x="354023" y="769704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2DCDF75-4284-476E-90AD-875D322C010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B943F2-7900-07B4-8D6C-2FB6227CD467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 (Without discount. Including validation)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4E86FD2E-3BC2-2BFB-74BF-28DBBA64A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EE3C10A-2EC7-7A2B-E822-20A8376EB53A}"/>
              </a:ext>
            </a:extLst>
          </p:cNvPr>
          <p:cNvGrpSpPr/>
          <p:nvPr/>
        </p:nvGrpSpPr>
        <p:grpSpPr>
          <a:xfrm>
            <a:off x="348860" y="1779315"/>
            <a:ext cx="3511597" cy="270000"/>
            <a:chOff x="5277600" y="1334174"/>
            <a:chExt cx="3511597" cy="27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9683F3A-DFBF-56A6-FF7E-2D41448AFD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78A8ECE-EF54-BE1F-EFD0-DB0C1EFA3F5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Cart)</a:t>
              </a:r>
            </a:p>
          </p:txBody>
        </p:sp>
        <p:pic>
          <p:nvPicPr>
            <p:cNvPr id="19" name="Graphic 18" descr="Close with solid fill">
              <a:extLst>
                <a:ext uri="{FF2B5EF4-FFF2-40B4-BE49-F238E27FC236}">
                  <a16:creationId xmlns:a16="http://schemas.microsoft.com/office/drawing/2014/main" id="{5C00B0D7-7305-5EDC-E6DB-721AC0479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4B7D93E-BF5E-7C43-C86E-E1EC35D33B26}"/>
              </a:ext>
            </a:extLst>
          </p:cNvPr>
          <p:cNvGrpSpPr/>
          <p:nvPr/>
        </p:nvGrpSpPr>
        <p:grpSpPr>
          <a:xfrm>
            <a:off x="348860" y="2119289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56E9E60-4E08-FA4B-3EDF-AB5DDEFE6C1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F72B4C-442C-DE14-C05E-05411BCC51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Checkout)</a:t>
              </a: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A8E4D426-D0AB-DE71-325E-858D106C1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16294F2-567D-BA58-7F5B-A282E86992B8}"/>
              </a:ext>
            </a:extLst>
          </p:cNvPr>
          <p:cNvGrpSpPr/>
          <p:nvPr/>
        </p:nvGrpSpPr>
        <p:grpSpPr>
          <a:xfrm>
            <a:off x="342746" y="2459263"/>
            <a:ext cx="3511597" cy="270000"/>
            <a:chOff x="5277600" y="1334174"/>
            <a:chExt cx="3511597" cy="270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7ABB3CD-4034-249E-3256-1E31777E973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66039AA-17E2-B4B3-436A-5BBAE0FF36B7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NL" sz="1000" dirty="0">
                  <a:solidFill>
                    <a:schemeClr val="bg1"/>
                  </a:solidFill>
                </a:rPr>
                <a:t>Error flow (Payment)</a:t>
              </a:r>
            </a:p>
          </p:txBody>
        </p:sp>
        <p:pic>
          <p:nvPicPr>
            <p:cNvPr id="27" name="Graphic 26" descr="Close with solid fill">
              <a:extLst>
                <a:ext uri="{FF2B5EF4-FFF2-40B4-BE49-F238E27FC236}">
                  <a16:creationId xmlns:a16="http://schemas.microsoft.com/office/drawing/2014/main" id="{1A417F2C-83C2-E6BC-ED26-0CA3BB76F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9232727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t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95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57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306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8972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01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22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Types of tests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483800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167931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43991" y="3576741"/>
            <a:ext cx="3600000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>
            <a:off x="343991" y="4292740"/>
            <a:ext cx="3600000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 flipH="1">
            <a:off x="4566139" y="796512"/>
            <a:ext cx="3576601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54441" y="1485868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566139" y="2173305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s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566139" y="2860742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54441" y="3536192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48860" y="2860742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2435628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increase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‘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6426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59" y="843558"/>
            <a:ext cx="4653793" cy="3950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Functional tests (Happy fl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tes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Happy Flow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async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()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=&gt;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loadPag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isplay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o products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talog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addProduct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 products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eader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Product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3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decrease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dirty="0">
                <a:solidFill>
                  <a:srgbClr val="DCDCAA"/>
                </a:solidFill>
                <a:latin typeface="Menlo" panose="020B0609030804020204" pitchFamily="49" charset="0"/>
              </a:rPr>
              <a:t>increaseProductAm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Cheap Product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Total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‘100Euro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ar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goTo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fillUserData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heckou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ubmitForm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ayme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pay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  <a:b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awai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Succes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showsSuccess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)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);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6109EB-A96D-73DA-F20C-838660686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782" y="843558"/>
            <a:ext cx="3467815" cy="25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01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2E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7961C7-BCAB-E968-3F6C-5574162E9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6418" y="756688"/>
            <a:ext cx="4255812" cy="311120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D567FE9-0F2E-5D50-C184-15C5EAD54528}"/>
              </a:ext>
            </a:extLst>
          </p:cNvPr>
          <p:cNvGrpSpPr/>
          <p:nvPr/>
        </p:nvGrpSpPr>
        <p:grpSpPr>
          <a:xfrm>
            <a:off x="354023" y="769704"/>
            <a:ext cx="3511597" cy="270000"/>
            <a:chOff x="5277600" y="1334174"/>
            <a:chExt cx="3511597" cy="27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201CF8C-66DF-D8E3-8F6C-445CF8CE96E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0E70C93-FF54-45A3-698F-ADB6C5D62A99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Happy Flow</a:t>
              </a:r>
              <a:endParaRPr lang="en-NL" sz="1000" dirty="0">
                <a:solidFill>
                  <a:schemeClr val="bg1"/>
                </a:solidFill>
              </a:endParaRPr>
            </a:p>
          </p:txBody>
        </p:sp>
        <p:pic>
          <p:nvPicPr>
            <p:cNvPr id="6" name="Graphic 5" descr="Close with solid fill">
              <a:extLst>
                <a:ext uri="{FF2B5EF4-FFF2-40B4-BE49-F238E27FC236}">
                  <a16:creationId xmlns:a16="http://schemas.microsoft.com/office/drawing/2014/main" id="{F2CFCFEB-119D-15CE-6752-20BE3117B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3047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Q&amp;Abb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 dirty="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02360"/>
            <a:ext cx="4572000" cy="17403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0" y="0"/>
            <a:ext cx="4586712" cy="171225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2911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02360"/>
            <a:ext cx="4572000" cy="173608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11690"/>
            <a:ext cx="9144000" cy="172911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12448277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31">
            <a:extLst>
              <a:ext uri="{FF2B5EF4-FFF2-40B4-BE49-F238E27FC236}">
                <a16:creationId xmlns:a16="http://schemas.microsoft.com/office/drawing/2014/main" id="{9F5A6D1A-0D83-6032-894A-1967119E84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53" b="25053"/>
          <a:stretch/>
        </p:blipFill>
        <p:spPr>
          <a:xfrm>
            <a:off x="457200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B18B6CCE-17DB-003D-D4C0-84D5FBE52017}"/>
              </a:ext>
            </a:extLst>
          </p:cNvPr>
          <p:cNvSpPr/>
          <p:nvPr/>
        </p:nvSpPr>
        <p:spPr>
          <a:xfrm>
            <a:off x="4572000" y="1713600"/>
            <a:ext cx="4572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Breaking the tests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A40E260F-B662-441D-4B84-68D8784AFAC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71" b="7778"/>
          <a:stretch/>
        </p:blipFill>
        <p:spPr>
          <a:xfrm>
            <a:off x="-1" y="-1350"/>
            <a:ext cx="4572000" cy="171922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82A071-E742-4E46-DB5E-D3428E975451}"/>
              </a:ext>
            </a:extLst>
          </p:cNvPr>
          <p:cNvSpPr/>
          <p:nvPr/>
        </p:nvSpPr>
        <p:spPr>
          <a:xfrm>
            <a:off x="107504" y="131040"/>
            <a:ext cx="2123728" cy="483518"/>
          </a:xfrm>
          <a:prstGeom prst="rect">
            <a:avLst/>
          </a:prstGeom>
          <a:solidFill>
            <a:srgbClr val="004C4C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ing Pyramid</a:t>
            </a:r>
          </a:p>
        </p:txBody>
      </p:sp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209821EA-A175-01BE-4F19-8BAADDC858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7" b="21727"/>
          <a:stretch/>
        </p:blipFill>
        <p:spPr>
          <a:xfrm>
            <a:off x="4572000" y="0"/>
            <a:ext cx="4572000" cy="1719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FF6FCCB-2BDB-E3A3-51B6-E3FCCF78A307}"/>
              </a:ext>
            </a:extLst>
          </p:cNvPr>
          <p:cNvSpPr/>
          <p:nvPr/>
        </p:nvSpPr>
        <p:spPr>
          <a:xfrm>
            <a:off x="4571999" y="0"/>
            <a:ext cx="4586713" cy="1723488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raceability matrix</a:t>
            </a:r>
          </a:p>
        </p:txBody>
      </p:sp>
      <p:pic>
        <p:nvPicPr>
          <p:cNvPr id="44" name="Picture Placeholder 31">
            <a:extLst>
              <a:ext uri="{FF2B5EF4-FFF2-40B4-BE49-F238E27FC236}">
                <a16:creationId xmlns:a16="http://schemas.microsoft.com/office/drawing/2014/main" id="{5468E836-B624-275F-082A-A18DB1B4EEEA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1820"/>
          <a:stretch/>
        </p:blipFill>
        <p:spPr>
          <a:xfrm>
            <a:off x="0" y="1713600"/>
            <a:ext cx="4572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5088D2A-5D50-E176-2EDB-3A1782DD1A11}"/>
              </a:ext>
            </a:extLst>
          </p:cNvPr>
          <p:cNvSpPr/>
          <p:nvPr/>
        </p:nvSpPr>
        <p:spPr>
          <a:xfrm>
            <a:off x="0" y="1713600"/>
            <a:ext cx="4572000" cy="1713600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Test driven development</a:t>
            </a:r>
          </a:p>
        </p:txBody>
      </p:sp>
      <p:pic>
        <p:nvPicPr>
          <p:cNvPr id="49" name="Picture Placeholder 31" descr="Manometer beer equipment">
            <a:extLst>
              <a:ext uri="{FF2B5EF4-FFF2-40B4-BE49-F238E27FC236}">
                <a16:creationId xmlns:a16="http://schemas.microsoft.com/office/drawing/2014/main" id="{DCE49D2F-3079-60FF-0510-632142FDBC05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" t="54569" r="-161" b="17127"/>
          <a:stretch/>
        </p:blipFill>
        <p:spPr>
          <a:xfrm>
            <a:off x="0" y="3427200"/>
            <a:ext cx="9144000" cy="1713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1C82434A-2D55-C8E5-F14B-0F0FD9AD8C08}"/>
              </a:ext>
            </a:extLst>
          </p:cNvPr>
          <p:cNvSpPr/>
          <p:nvPr/>
        </p:nvSpPr>
        <p:spPr>
          <a:xfrm>
            <a:off x="0" y="3421582"/>
            <a:ext cx="9144000" cy="1719219"/>
          </a:xfrm>
          <a:prstGeom prst="rect">
            <a:avLst/>
          </a:prstGeom>
          <a:solidFill>
            <a:srgbClr val="004C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/>
              <a:t>Integration with the pipeline</a:t>
            </a:r>
          </a:p>
        </p:txBody>
      </p:sp>
    </p:spTree>
    <p:extLst>
      <p:ext uri="{BB962C8B-B14F-4D97-AF65-F5344CB8AC3E}">
        <p14:creationId xmlns:p14="http://schemas.microsoft.com/office/powerpoint/2010/main" val="9649353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973960365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77420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C51916-87AC-4A9B-A959-3350DB9B11FB}">
  <ds:schemaRefs>
    <ds:schemaRef ds:uri="http://purl.org/dc/elements/1.1/"/>
    <ds:schemaRef ds:uri="http://purl.org/dc/terms/"/>
    <ds:schemaRef ds:uri="http://schemas.microsoft.com/office/2006/metadata/properties"/>
    <ds:schemaRef ds:uri="53dbb911-c30a-421f-b09c-09dd51c662b7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c962d9db-3d13-45f0-8a7d-4953e14385ca"/>
  </ds:schemaRefs>
</ds:datastoreItem>
</file>

<file path=customXml/itemProps2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821</TotalTime>
  <Words>2550</Words>
  <Application>Microsoft Macintosh PowerPoint</Application>
  <PresentationFormat>On-screen Show (16:9)</PresentationFormat>
  <Paragraphs>550</Paragraphs>
  <Slides>5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2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Story ti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18</cp:revision>
  <dcterms:created xsi:type="dcterms:W3CDTF">2018-08-28T11:37:56Z</dcterms:created>
  <dcterms:modified xsi:type="dcterms:W3CDTF">2023-10-02T08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